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</p:sldMasterIdLst>
  <p:sldIdLst>
    <p:sldId id="256" r:id="rId3"/>
    <p:sldId id="257" r:id="rId4"/>
  </p:sldIdLst>
  <p:sldSz cx="9144000" cy="5143500" type="screen16x9"/>
  <p:notesSz cx="9144000" cy="51435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66" d="100"/>
          <a:sy n="66" d="100"/>
        </p:scale>
        <p:origin x="1858" y="509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4.xml"/><Relationship Id="rId7" Type="http://schemas.openxmlformats.org/officeDocument/2006/relationships/tableStyles" Target="tableStyles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1594485"/>
            <a:ext cx="7772400" cy="1080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/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2880360"/>
            <a:ext cx="6400800" cy="12858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/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94D80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415363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94D80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339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/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339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/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94D80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png"/><Relationship Id="rId8" Type="http://schemas.openxmlformats.org/officeDocument/2006/relationships/image" Target="../media/image1.emf"/><Relationship Id="rId7" Type="http://schemas.openxmlformats.org/officeDocument/2006/relationships/oleObject" Target="../embeddings/oleObject1.bin"/><Relationship Id="rId6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1" Type="http://schemas.openxmlformats.org/officeDocument/2006/relationships/theme" Target="../theme/theme1.xml"/><Relationship Id="rId1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Picture 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4568952"/>
            <a:ext cx="9144000" cy="0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4000" y="0"/>
                </a:lnTo>
              </a:path>
            </a:pathLst>
          </a:custGeom>
          <a:ln w="9144">
            <a:solidFill>
              <a:srgbClr val="094D80"/>
            </a:solidFill>
          </a:ln>
        </p:spPr>
        <p:txBody>
          <a:bodyPr wrap="square" lIns="0" tIns="0" rIns="0" bIns="0" rtlCol="0"/>
          <a:lstStyle/>
          <a:p/>
        </p:txBody>
      </p:sp>
      <p:sp>
        <p:nvSpPr>
          <p:cNvPr id="17" name="bg object 17"/>
          <p:cNvSpPr/>
          <p:nvPr/>
        </p:nvSpPr>
        <p:spPr>
          <a:xfrm>
            <a:off x="7531693" y="4669126"/>
            <a:ext cx="348615" cy="352425"/>
          </a:xfrm>
          <a:custGeom>
            <a:avLst/>
            <a:gdLst/>
            <a:ahLst/>
            <a:cxnLst/>
            <a:rect l="l" t="t" r="r" b="b"/>
            <a:pathLst>
              <a:path w="348615" h="352425">
                <a:moveTo>
                  <a:pt x="348370" y="0"/>
                </a:moveTo>
                <a:lnTo>
                  <a:pt x="0" y="0"/>
                </a:lnTo>
                <a:lnTo>
                  <a:pt x="0" y="352046"/>
                </a:lnTo>
                <a:lnTo>
                  <a:pt x="348370" y="352046"/>
                </a:lnTo>
                <a:lnTo>
                  <a:pt x="348370" y="0"/>
                </a:lnTo>
                <a:close/>
              </a:path>
            </a:pathLst>
          </a:custGeom>
          <a:solidFill>
            <a:srgbClr val="B72E2A"/>
          </a:solidFill>
        </p:spPr>
        <p:txBody>
          <a:bodyPr wrap="square" lIns="0" tIns="0" rIns="0" bIns="0" rtlCol="0"/>
          <a:lstStyle/>
          <a:p/>
        </p:txBody>
      </p:sp>
      <p:pic>
        <p:nvPicPr>
          <p:cNvPr id="18" name="bg object 18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7643787" y="4749304"/>
            <a:ext cx="125798" cy="204306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7941742" y="4724882"/>
            <a:ext cx="737870" cy="296545"/>
          </a:xfrm>
          <a:custGeom>
            <a:avLst/>
            <a:gdLst/>
            <a:ahLst/>
            <a:cxnLst/>
            <a:rect l="l" t="t" r="r" b="b"/>
            <a:pathLst>
              <a:path w="737870" h="296545">
                <a:moveTo>
                  <a:pt x="25806" y="256413"/>
                </a:moveTo>
                <a:lnTo>
                  <a:pt x="16535" y="256413"/>
                </a:lnTo>
                <a:lnTo>
                  <a:pt x="16535" y="295478"/>
                </a:lnTo>
                <a:lnTo>
                  <a:pt x="25806" y="295478"/>
                </a:lnTo>
                <a:lnTo>
                  <a:pt x="25806" y="256413"/>
                </a:lnTo>
                <a:close/>
              </a:path>
              <a:path w="737870" h="296545">
                <a:moveTo>
                  <a:pt x="83870" y="256006"/>
                </a:moveTo>
                <a:lnTo>
                  <a:pt x="74599" y="256006"/>
                </a:lnTo>
                <a:lnTo>
                  <a:pt x="74599" y="278384"/>
                </a:lnTo>
                <a:lnTo>
                  <a:pt x="60083" y="256006"/>
                </a:lnTo>
                <a:lnTo>
                  <a:pt x="50812" y="256006"/>
                </a:lnTo>
                <a:lnTo>
                  <a:pt x="50812" y="295478"/>
                </a:lnTo>
                <a:lnTo>
                  <a:pt x="60083" y="295478"/>
                </a:lnTo>
                <a:lnTo>
                  <a:pt x="60083" y="273100"/>
                </a:lnTo>
                <a:lnTo>
                  <a:pt x="74599" y="295478"/>
                </a:lnTo>
                <a:lnTo>
                  <a:pt x="83870" y="295478"/>
                </a:lnTo>
                <a:lnTo>
                  <a:pt x="83870" y="256006"/>
                </a:lnTo>
                <a:close/>
              </a:path>
              <a:path w="737870" h="296545">
                <a:moveTo>
                  <a:pt x="105244" y="24422"/>
                </a:moveTo>
                <a:lnTo>
                  <a:pt x="16535" y="24422"/>
                </a:lnTo>
                <a:lnTo>
                  <a:pt x="16535" y="85471"/>
                </a:lnTo>
                <a:lnTo>
                  <a:pt x="0" y="85471"/>
                </a:lnTo>
                <a:lnTo>
                  <a:pt x="0" y="105016"/>
                </a:lnTo>
                <a:lnTo>
                  <a:pt x="16535" y="105016"/>
                </a:lnTo>
                <a:lnTo>
                  <a:pt x="16535" y="116408"/>
                </a:lnTo>
                <a:lnTo>
                  <a:pt x="0" y="116408"/>
                </a:lnTo>
                <a:lnTo>
                  <a:pt x="0" y="135534"/>
                </a:lnTo>
                <a:lnTo>
                  <a:pt x="16535" y="135534"/>
                </a:lnTo>
                <a:lnTo>
                  <a:pt x="16535" y="196583"/>
                </a:lnTo>
                <a:lnTo>
                  <a:pt x="50812" y="196583"/>
                </a:lnTo>
                <a:lnTo>
                  <a:pt x="50812" y="135534"/>
                </a:lnTo>
                <a:lnTo>
                  <a:pt x="83070" y="135534"/>
                </a:lnTo>
                <a:lnTo>
                  <a:pt x="91541" y="116408"/>
                </a:lnTo>
                <a:lnTo>
                  <a:pt x="50812" y="116408"/>
                </a:lnTo>
                <a:lnTo>
                  <a:pt x="50812" y="105016"/>
                </a:lnTo>
                <a:lnTo>
                  <a:pt x="96774" y="105016"/>
                </a:lnTo>
                <a:lnTo>
                  <a:pt x="105244" y="85471"/>
                </a:lnTo>
                <a:lnTo>
                  <a:pt x="50812" y="85471"/>
                </a:lnTo>
                <a:lnTo>
                  <a:pt x="50812" y="52501"/>
                </a:lnTo>
                <a:lnTo>
                  <a:pt x="105244" y="52501"/>
                </a:lnTo>
                <a:lnTo>
                  <a:pt x="105244" y="24422"/>
                </a:lnTo>
                <a:close/>
              </a:path>
              <a:path w="737870" h="296545">
                <a:moveTo>
                  <a:pt x="132676" y="256006"/>
                </a:moveTo>
                <a:lnTo>
                  <a:pt x="105244" y="256006"/>
                </a:lnTo>
                <a:lnTo>
                  <a:pt x="105244" y="263740"/>
                </a:lnTo>
                <a:lnTo>
                  <a:pt x="114134" y="263740"/>
                </a:lnTo>
                <a:lnTo>
                  <a:pt x="114134" y="295478"/>
                </a:lnTo>
                <a:lnTo>
                  <a:pt x="123812" y="295478"/>
                </a:lnTo>
                <a:lnTo>
                  <a:pt x="123812" y="263740"/>
                </a:lnTo>
                <a:lnTo>
                  <a:pt x="132676" y="263740"/>
                </a:lnTo>
                <a:lnTo>
                  <a:pt x="132676" y="256006"/>
                </a:lnTo>
                <a:close/>
              </a:path>
              <a:path w="737870" h="296545">
                <a:moveTo>
                  <a:pt x="154444" y="85064"/>
                </a:moveTo>
                <a:lnTo>
                  <a:pt x="120154" y="85064"/>
                </a:lnTo>
                <a:lnTo>
                  <a:pt x="120154" y="196176"/>
                </a:lnTo>
                <a:lnTo>
                  <a:pt x="154444" y="196176"/>
                </a:lnTo>
                <a:lnTo>
                  <a:pt x="154444" y="85064"/>
                </a:lnTo>
                <a:close/>
              </a:path>
              <a:path w="737870" h="296545">
                <a:moveTo>
                  <a:pt x="155257" y="37858"/>
                </a:moveTo>
                <a:lnTo>
                  <a:pt x="153720" y="30937"/>
                </a:lnTo>
                <a:lnTo>
                  <a:pt x="149656" y="25234"/>
                </a:lnTo>
                <a:lnTo>
                  <a:pt x="143852" y="21374"/>
                </a:lnTo>
                <a:lnTo>
                  <a:pt x="137083" y="19951"/>
                </a:lnTo>
                <a:lnTo>
                  <a:pt x="130009" y="21551"/>
                </a:lnTo>
                <a:lnTo>
                  <a:pt x="124256" y="25742"/>
                </a:lnTo>
                <a:lnTo>
                  <a:pt x="120383" y="31623"/>
                </a:lnTo>
                <a:lnTo>
                  <a:pt x="118973" y="38265"/>
                </a:lnTo>
                <a:lnTo>
                  <a:pt x="120383" y="44907"/>
                </a:lnTo>
                <a:lnTo>
                  <a:pt x="124256" y="50774"/>
                </a:lnTo>
                <a:lnTo>
                  <a:pt x="130009" y="54978"/>
                </a:lnTo>
                <a:lnTo>
                  <a:pt x="137083" y="56578"/>
                </a:lnTo>
                <a:lnTo>
                  <a:pt x="144183" y="55029"/>
                </a:lnTo>
                <a:lnTo>
                  <a:pt x="149961" y="50876"/>
                </a:lnTo>
                <a:lnTo>
                  <a:pt x="153835" y="44907"/>
                </a:lnTo>
                <a:lnTo>
                  <a:pt x="155257" y="37858"/>
                </a:lnTo>
                <a:close/>
              </a:path>
              <a:path w="737870" h="296545">
                <a:moveTo>
                  <a:pt x="175412" y="256006"/>
                </a:moveTo>
                <a:lnTo>
                  <a:pt x="152831" y="256006"/>
                </a:lnTo>
                <a:lnTo>
                  <a:pt x="152831" y="295478"/>
                </a:lnTo>
                <a:lnTo>
                  <a:pt x="175412" y="295478"/>
                </a:lnTo>
                <a:lnTo>
                  <a:pt x="175412" y="287743"/>
                </a:lnTo>
                <a:lnTo>
                  <a:pt x="162509" y="287743"/>
                </a:lnTo>
                <a:lnTo>
                  <a:pt x="162509" y="279615"/>
                </a:lnTo>
                <a:lnTo>
                  <a:pt x="175412" y="279615"/>
                </a:lnTo>
                <a:lnTo>
                  <a:pt x="175412" y="271881"/>
                </a:lnTo>
                <a:lnTo>
                  <a:pt x="162509" y="271881"/>
                </a:lnTo>
                <a:lnTo>
                  <a:pt x="162509" y="263740"/>
                </a:lnTo>
                <a:lnTo>
                  <a:pt x="175412" y="263740"/>
                </a:lnTo>
                <a:lnTo>
                  <a:pt x="175412" y="256006"/>
                </a:lnTo>
                <a:close/>
              </a:path>
              <a:path w="737870" h="296545">
                <a:moveTo>
                  <a:pt x="228244" y="295478"/>
                </a:moveTo>
                <a:lnTo>
                  <a:pt x="219760" y="281241"/>
                </a:lnTo>
                <a:lnTo>
                  <a:pt x="221856" y="280428"/>
                </a:lnTo>
                <a:lnTo>
                  <a:pt x="225018" y="279196"/>
                </a:lnTo>
                <a:lnTo>
                  <a:pt x="227444" y="275132"/>
                </a:lnTo>
                <a:lnTo>
                  <a:pt x="227444" y="264960"/>
                </a:lnTo>
                <a:lnTo>
                  <a:pt x="227088" y="264147"/>
                </a:lnTo>
                <a:lnTo>
                  <a:pt x="225831" y="261289"/>
                </a:lnTo>
                <a:lnTo>
                  <a:pt x="222986" y="259257"/>
                </a:lnTo>
                <a:lnTo>
                  <a:pt x="220560" y="257225"/>
                </a:lnTo>
                <a:lnTo>
                  <a:pt x="217766" y="256286"/>
                </a:lnTo>
                <a:lnTo>
                  <a:pt x="217766" y="266179"/>
                </a:lnTo>
                <a:lnTo>
                  <a:pt x="217766" y="273100"/>
                </a:lnTo>
                <a:lnTo>
                  <a:pt x="215353" y="275132"/>
                </a:lnTo>
                <a:lnTo>
                  <a:pt x="208470" y="275132"/>
                </a:lnTo>
                <a:lnTo>
                  <a:pt x="208470" y="264147"/>
                </a:lnTo>
                <a:lnTo>
                  <a:pt x="215722" y="264147"/>
                </a:lnTo>
                <a:lnTo>
                  <a:pt x="217766" y="266179"/>
                </a:lnTo>
                <a:lnTo>
                  <a:pt x="217766" y="256286"/>
                </a:lnTo>
                <a:lnTo>
                  <a:pt x="216954" y="256006"/>
                </a:lnTo>
                <a:lnTo>
                  <a:pt x="199174" y="256006"/>
                </a:lnTo>
                <a:lnTo>
                  <a:pt x="199174" y="295478"/>
                </a:lnTo>
                <a:lnTo>
                  <a:pt x="208470" y="295478"/>
                </a:lnTo>
                <a:lnTo>
                  <a:pt x="208470" y="280428"/>
                </a:lnTo>
                <a:lnTo>
                  <a:pt x="216954" y="295478"/>
                </a:lnTo>
                <a:lnTo>
                  <a:pt x="228244" y="295478"/>
                </a:lnTo>
                <a:close/>
              </a:path>
              <a:path w="737870" h="296545">
                <a:moveTo>
                  <a:pt x="284251" y="24015"/>
                </a:moveTo>
                <a:lnTo>
                  <a:pt x="254368" y="24015"/>
                </a:lnTo>
                <a:lnTo>
                  <a:pt x="254368" y="140004"/>
                </a:lnTo>
                <a:lnTo>
                  <a:pt x="254368" y="140817"/>
                </a:lnTo>
                <a:lnTo>
                  <a:pt x="252577" y="153530"/>
                </a:lnTo>
                <a:lnTo>
                  <a:pt x="247180" y="164122"/>
                </a:lnTo>
                <a:lnTo>
                  <a:pt x="238455" y="171208"/>
                </a:lnTo>
                <a:lnTo>
                  <a:pt x="226631" y="173786"/>
                </a:lnTo>
                <a:lnTo>
                  <a:pt x="214617" y="171107"/>
                </a:lnTo>
                <a:lnTo>
                  <a:pt x="205905" y="163868"/>
                </a:lnTo>
                <a:lnTo>
                  <a:pt x="200583" y="153365"/>
                </a:lnTo>
                <a:lnTo>
                  <a:pt x="198793" y="140817"/>
                </a:lnTo>
                <a:lnTo>
                  <a:pt x="200520" y="128460"/>
                </a:lnTo>
                <a:lnTo>
                  <a:pt x="205638" y="117932"/>
                </a:lnTo>
                <a:lnTo>
                  <a:pt x="214096" y="110604"/>
                </a:lnTo>
                <a:lnTo>
                  <a:pt x="225831" y="107861"/>
                </a:lnTo>
                <a:lnTo>
                  <a:pt x="238467" y="110604"/>
                </a:lnTo>
                <a:lnTo>
                  <a:pt x="247294" y="117805"/>
                </a:lnTo>
                <a:lnTo>
                  <a:pt x="247408" y="117932"/>
                </a:lnTo>
                <a:lnTo>
                  <a:pt x="252679" y="128295"/>
                </a:lnTo>
                <a:lnTo>
                  <a:pt x="254368" y="140004"/>
                </a:lnTo>
                <a:lnTo>
                  <a:pt x="254368" y="24015"/>
                </a:lnTo>
                <a:lnTo>
                  <a:pt x="253238" y="24015"/>
                </a:lnTo>
                <a:lnTo>
                  <a:pt x="253238" y="99314"/>
                </a:lnTo>
                <a:lnTo>
                  <a:pt x="252806" y="99314"/>
                </a:lnTo>
                <a:lnTo>
                  <a:pt x="244894" y="90843"/>
                </a:lnTo>
                <a:lnTo>
                  <a:pt x="236639" y="85318"/>
                </a:lnTo>
                <a:lnTo>
                  <a:pt x="227711" y="82308"/>
                </a:lnTo>
                <a:lnTo>
                  <a:pt x="217766" y="81407"/>
                </a:lnTo>
                <a:lnTo>
                  <a:pt x="196253" y="86207"/>
                </a:lnTo>
                <a:lnTo>
                  <a:pt x="179984" y="99110"/>
                </a:lnTo>
                <a:lnTo>
                  <a:pt x="169697" y="117805"/>
                </a:lnTo>
                <a:lnTo>
                  <a:pt x="166116" y="140004"/>
                </a:lnTo>
                <a:lnTo>
                  <a:pt x="169875" y="162280"/>
                </a:lnTo>
                <a:lnTo>
                  <a:pt x="180479" y="181114"/>
                </a:lnTo>
                <a:lnTo>
                  <a:pt x="196900" y="194157"/>
                </a:lnTo>
                <a:lnTo>
                  <a:pt x="218147" y="199021"/>
                </a:lnTo>
                <a:lnTo>
                  <a:pt x="228473" y="197993"/>
                </a:lnTo>
                <a:lnTo>
                  <a:pt x="238074" y="194703"/>
                </a:lnTo>
                <a:lnTo>
                  <a:pt x="246684" y="188899"/>
                </a:lnTo>
                <a:lnTo>
                  <a:pt x="254050" y="180301"/>
                </a:lnTo>
                <a:lnTo>
                  <a:pt x="254419" y="180301"/>
                </a:lnTo>
                <a:lnTo>
                  <a:pt x="254419" y="196176"/>
                </a:lnTo>
                <a:lnTo>
                  <a:pt x="284251" y="196176"/>
                </a:lnTo>
                <a:lnTo>
                  <a:pt x="284251" y="180301"/>
                </a:lnTo>
                <a:lnTo>
                  <a:pt x="284251" y="173786"/>
                </a:lnTo>
                <a:lnTo>
                  <a:pt x="284251" y="107861"/>
                </a:lnTo>
                <a:lnTo>
                  <a:pt x="284251" y="99314"/>
                </a:lnTo>
                <a:lnTo>
                  <a:pt x="284251" y="24015"/>
                </a:lnTo>
                <a:close/>
              </a:path>
              <a:path w="737870" h="296545">
                <a:moveTo>
                  <a:pt x="284683" y="256006"/>
                </a:moveTo>
                <a:lnTo>
                  <a:pt x="275386" y="256006"/>
                </a:lnTo>
                <a:lnTo>
                  <a:pt x="275386" y="278384"/>
                </a:lnTo>
                <a:lnTo>
                  <a:pt x="261302" y="256006"/>
                </a:lnTo>
                <a:lnTo>
                  <a:pt x="251625" y="256006"/>
                </a:lnTo>
                <a:lnTo>
                  <a:pt x="251625" y="295478"/>
                </a:lnTo>
                <a:lnTo>
                  <a:pt x="261302" y="295478"/>
                </a:lnTo>
                <a:lnTo>
                  <a:pt x="261302" y="273100"/>
                </a:lnTo>
                <a:lnTo>
                  <a:pt x="275386" y="295478"/>
                </a:lnTo>
                <a:lnTo>
                  <a:pt x="284683" y="295478"/>
                </a:lnTo>
                <a:lnTo>
                  <a:pt x="284683" y="256006"/>
                </a:lnTo>
                <a:close/>
              </a:path>
              <a:path w="737870" h="296545">
                <a:moveTo>
                  <a:pt x="343547" y="295478"/>
                </a:moveTo>
                <a:lnTo>
                  <a:pt x="341680" y="289788"/>
                </a:lnTo>
                <a:lnTo>
                  <a:pt x="339153" y="282054"/>
                </a:lnTo>
                <a:lnTo>
                  <a:pt x="334365" y="267398"/>
                </a:lnTo>
                <a:lnTo>
                  <a:pt x="330644" y="256006"/>
                </a:lnTo>
                <a:lnTo>
                  <a:pt x="329031" y="256006"/>
                </a:lnTo>
                <a:lnTo>
                  <a:pt x="329031" y="282054"/>
                </a:lnTo>
                <a:lnTo>
                  <a:pt x="319735" y="282054"/>
                </a:lnTo>
                <a:lnTo>
                  <a:pt x="324573" y="267398"/>
                </a:lnTo>
                <a:lnTo>
                  <a:pt x="329031" y="282054"/>
                </a:lnTo>
                <a:lnTo>
                  <a:pt x="329031" y="256006"/>
                </a:lnTo>
                <a:lnTo>
                  <a:pt x="318554" y="256006"/>
                </a:lnTo>
                <a:lnTo>
                  <a:pt x="305650" y="295478"/>
                </a:lnTo>
                <a:lnTo>
                  <a:pt x="315696" y="295478"/>
                </a:lnTo>
                <a:lnTo>
                  <a:pt x="317309" y="289788"/>
                </a:lnTo>
                <a:lnTo>
                  <a:pt x="331444" y="289788"/>
                </a:lnTo>
                <a:lnTo>
                  <a:pt x="333057" y="295478"/>
                </a:lnTo>
                <a:lnTo>
                  <a:pt x="343547" y="295478"/>
                </a:lnTo>
                <a:close/>
              </a:path>
              <a:path w="737870" h="296545">
                <a:moveTo>
                  <a:pt x="386702" y="256006"/>
                </a:moveTo>
                <a:lnTo>
                  <a:pt x="359295" y="256006"/>
                </a:lnTo>
                <a:lnTo>
                  <a:pt x="359295" y="263740"/>
                </a:lnTo>
                <a:lnTo>
                  <a:pt x="368160" y="263740"/>
                </a:lnTo>
                <a:lnTo>
                  <a:pt x="368160" y="295478"/>
                </a:lnTo>
                <a:lnTo>
                  <a:pt x="377837" y="295478"/>
                </a:lnTo>
                <a:lnTo>
                  <a:pt x="377837" y="263740"/>
                </a:lnTo>
                <a:lnTo>
                  <a:pt x="386702" y="263740"/>
                </a:lnTo>
                <a:lnTo>
                  <a:pt x="386702" y="256006"/>
                </a:lnTo>
                <a:close/>
              </a:path>
              <a:path w="737870" h="296545">
                <a:moveTo>
                  <a:pt x="408470" y="140411"/>
                </a:moveTo>
                <a:lnTo>
                  <a:pt x="406527" y="129019"/>
                </a:lnTo>
                <a:lnTo>
                  <a:pt x="404291" y="115912"/>
                </a:lnTo>
                <a:lnTo>
                  <a:pt x="397433" y="105016"/>
                </a:lnTo>
                <a:lnTo>
                  <a:pt x="392595" y="97320"/>
                </a:lnTo>
                <a:lnTo>
                  <a:pt x="377405" y="87363"/>
                </a:lnTo>
                <a:lnTo>
                  <a:pt x="377405" y="129019"/>
                </a:lnTo>
                <a:lnTo>
                  <a:pt x="327418" y="129019"/>
                </a:lnTo>
                <a:lnTo>
                  <a:pt x="329857" y="119951"/>
                </a:lnTo>
                <a:lnTo>
                  <a:pt x="334873" y="112280"/>
                </a:lnTo>
                <a:lnTo>
                  <a:pt x="342607" y="106984"/>
                </a:lnTo>
                <a:lnTo>
                  <a:pt x="353212" y="105016"/>
                </a:lnTo>
                <a:lnTo>
                  <a:pt x="363131" y="107213"/>
                </a:lnTo>
                <a:lnTo>
                  <a:pt x="370471" y="112890"/>
                </a:lnTo>
                <a:lnTo>
                  <a:pt x="375234" y="120637"/>
                </a:lnTo>
                <a:lnTo>
                  <a:pt x="377405" y="129019"/>
                </a:lnTo>
                <a:lnTo>
                  <a:pt x="377405" y="87363"/>
                </a:lnTo>
                <a:lnTo>
                  <a:pt x="374624" y="85534"/>
                </a:lnTo>
                <a:lnTo>
                  <a:pt x="351612" y="81407"/>
                </a:lnTo>
                <a:lnTo>
                  <a:pt x="328587" y="85534"/>
                </a:lnTo>
                <a:lnTo>
                  <a:pt x="310616" y="97320"/>
                </a:lnTo>
                <a:lnTo>
                  <a:pt x="298919" y="115912"/>
                </a:lnTo>
                <a:lnTo>
                  <a:pt x="294741" y="140411"/>
                </a:lnTo>
                <a:lnTo>
                  <a:pt x="298919" y="164680"/>
                </a:lnTo>
                <a:lnTo>
                  <a:pt x="310616" y="183146"/>
                </a:lnTo>
                <a:lnTo>
                  <a:pt x="328587" y="194906"/>
                </a:lnTo>
                <a:lnTo>
                  <a:pt x="351612" y="199021"/>
                </a:lnTo>
                <a:lnTo>
                  <a:pt x="370039" y="196824"/>
                </a:lnTo>
                <a:lnTo>
                  <a:pt x="385584" y="190271"/>
                </a:lnTo>
                <a:lnTo>
                  <a:pt x="397649" y="179451"/>
                </a:lnTo>
                <a:lnTo>
                  <a:pt x="399796" y="175425"/>
                </a:lnTo>
                <a:lnTo>
                  <a:pt x="405625" y="164439"/>
                </a:lnTo>
                <a:lnTo>
                  <a:pt x="375412" y="161988"/>
                </a:lnTo>
                <a:lnTo>
                  <a:pt x="371373" y="167690"/>
                </a:lnTo>
                <a:lnTo>
                  <a:pt x="366128" y="171907"/>
                </a:lnTo>
                <a:lnTo>
                  <a:pt x="359981" y="174523"/>
                </a:lnTo>
                <a:lnTo>
                  <a:pt x="353212" y="175425"/>
                </a:lnTo>
                <a:lnTo>
                  <a:pt x="342214" y="173113"/>
                </a:lnTo>
                <a:lnTo>
                  <a:pt x="334416" y="167081"/>
                </a:lnTo>
                <a:lnTo>
                  <a:pt x="329565" y="158597"/>
                </a:lnTo>
                <a:lnTo>
                  <a:pt x="327418" y="148971"/>
                </a:lnTo>
                <a:lnTo>
                  <a:pt x="408470" y="148971"/>
                </a:lnTo>
                <a:lnTo>
                  <a:pt x="408470" y="140411"/>
                </a:lnTo>
                <a:close/>
              </a:path>
              <a:path w="737870" h="296545">
                <a:moveTo>
                  <a:pt x="421373" y="256413"/>
                </a:moveTo>
                <a:lnTo>
                  <a:pt x="411695" y="256413"/>
                </a:lnTo>
                <a:lnTo>
                  <a:pt x="411695" y="295478"/>
                </a:lnTo>
                <a:lnTo>
                  <a:pt x="421373" y="295478"/>
                </a:lnTo>
                <a:lnTo>
                  <a:pt x="421373" y="256413"/>
                </a:lnTo>
                <a:close/>
              </a:path>
              <a:path w="737870" h="296545">
                <a:moveTo>
                  <a:pt x="450773" y="24015"/>
                </a:moveTo>
                <a:lnTo>
                  <a:pt x="419328" y="24015"/>
                </a:lnTo>
                <a:lnTo>
                  <a:pt x="419328" y="196176"/>
                </a:lnTo>
                <a:lnTo>
                  <a:pt x="450773" y="196176"/>
                </a:lnTo>
                <a:lnTo>
                  <a:pt x="450773" y="24015"/>
                </a:lnTo>
                <a:close/>
              </a:path>
              <a:path w="737870" h="296545">
                <a:moveTo>
                  <a:pt x="484263" y="275945"/>
                </a:moveTo>
                <a:lnTo>
                  <a:pt x="482752" y="267792"/>
                </a:lnTo>
                <a:lnTo>
                  <a:pt x="480377" y="264147"/>
                </a:lnTo>
                <a:lnTo>
                  <a:pt x="478561" y="261340"/>
                </a:lnTo>
                <a:lnTo>
                  <a:pt x="474586" y="258711"/>
                </a:lnTo>
                <a:lnTo>
                  <a:pt x="474586" y="269430"/>
                </a:lnTo>
                <a:lnTo>
                  <a:pt x="474586" y="282460"/>
                </a:lnTo>
                <a:lnTo>
                  <a:pt x="469747" y="287337"/>
                </a:lnTo>
                <a:lnTo>
                  <a:pt x="457657" y="287337"/>
                </a:lnTo>
                <a:lnTo>
                  <a:pt x="452818" y="282460"/>
                </a:lnTo>
                <a:lnTo>
                  <a:pt x="452818" y="269024"/>
                </a:lnTo>
                <a:lnTo>
                  <a:pt x="457225" y="264147"/>
                </a:lnTo>
                <a:lnTo>
                  <a:pt x="470128" y="264147"/>
                </a:lnTo>
                <a:lnTo>
                  <a:pt x="474586" y="269430"/>
                </a:lnTo>
                <a:lnTo>
                  <a:pt x="474586" y="258711"/>
                </a:lnTo>
                <a:lnTo>
                  <a:pt x="472173" y="257111"/>
                </a:lnTo>
                <a:lnTo>
                  <a:pt x="464108" y="255600"/>
                </a:lnTo>
                <a:lnTo>
                  <a:pt x="458457" y="255600"/>
                </a:lnTo>
                <a:lnTo>
                  <a:pt x="453199" y="257225"/>
                </a:lnTo>
                <a:lnTo>
                  <a:pt x="449592" y="260883"/>
                </a:lnTo>
                <a:lnTo>
                  <a:pt x="445135" y="264960"/>
                </a:lnTo>
                <a:lnTo>
                  <a:pt x="443141" y="270243"/>
                </a:lnTo>
                <a:lnTo>
                  <a:pt x="443141" y="275945"/>
                </a:lnTo>
                <a:lnTo>
                  <a:pt x="444766" y="283933"/>
                </a:lnTo>
                <a:lnTo>
                  <a:pt x="449173" y="290398"/>
                </a:lnTo>
                <a:lnTo>
                  <a:pt x="455701" y="294716"/>
                </a:lnTo>
                <a:lnTo>
                  <a:pt x="463677" y="296291"/>
                </a:lnTo>
                <a:lnTo>
                  <a:pt x="471652" y="294716"/>
                </a:lnTo>
                <a:lnTo>
                  <a:pt x="478205" y="290398"/>
                </a:lnTo>
                <a:lnTo>
                  <a:pt x="480301" y="287337"/>
                </a:lnTo>
                <a:lnTo>
                  <a:pt x="482638" y="283933"/>
                </a:lnTo>
                <a:lnTo>
                  <a:pt x="484263" y="275945"/>
                </a:lnTo>
                <a:close/>
              </a:path>
              <a:path w="737870" h="296545">
                <a:moveTo>
                  <a:pt x="496785" y="84251"/>
                </a:moveTo>
                <a:lnTo>
                  <a:pt x="465721" y="84251"/>
                </a:lnTo>
                <a:lnTo>
                  <a:pt x="465721" y="196176"/>
                </a:lnTo>
                <a:lnTo>
                  <a:pt x="496785" y="196176"/>
                </a:lnTo>
                <a:lnTo>
                  <a:pt x="496785" y="84251"/>
                </a:lnTo>
                <a:close/>
              </a:path>
              <a:path w="737870" h="296545">
                <a:moveTo>
                  <a:pt x="499579" y="37858"/>
                </a:moveTo>
                <a:lnTo>
                  <a:pt x="498055" y="30937"/>
                </a:lnTo>
                <a:lnTo>
                  <a:pt x="493979" y="25234"/>
                </a:lnTo>
                <a:lnTo>
                  <a:pt x="488175" y="21374"/>
                </a:lnTo>
                <a:lnTo>
                  <a:pt x="481418" y="19951"/>
                </a:lnTo>
                <a:lnTo>
                  <a:pt x="474167" y="21551"/>
                </a:lnTo>
                <a:lnTo>
                  <a:pt x="468426" y="25742"/>
                </a:lnTo>
                <a:lnTo>
                  <a:pt x="464654" y="31623"/>
                </a:lnTo>
                <a:lnTo>
                  <a:pt x="463296" y="38265"/>
                </a:lnTo>
                <a:lnTo>
                  <a:pt x="464654" y="44907"/>
                </a:lnTo>
                <a:lnTo>
                  <a:pt x="468426" y="50774"/>
                </a:lnTo>
                <a:lnTo>
                  <a:pt x="474167" y="54978"/>
                </a:lnTo>
                <a:lnTo>
                  <a:pt x="481418" y="56578"/>
                </a:lnTo>
                <a:lnTo>
                  <a:pt x="488340" y="55029"/>
                </a:lnTo>
                <a:lnTo>
                  <a:pt x="494131" y="50876"/>
                </a:lnTo>
                <a:lnTo>
                  <a:pt x="498106" y="44907"/>
                </a:lnTo>
                <a:lnTo>
                  <a:pt x="499579" y="37858"/>
                </a:lnTo>
                <a:close/>
              </a:path>
              <a:path w="737870" h="296545">
                <a:moveTo>
                  <a:pt x="538276" y="256006"/>
                </a:moveTo>
                <a:lnTo>
                  <a:pt x="528612" y="256006"/>
                </a:lnTo>
                <a:lnTo>
                  <a:pt x="528612" y="278384"/>
                </a:lnTo>
                <a:lnTo>
                  <a:pt x="514527" y="256006"/>
                </a:lnTo>
                <a:lnTo>
                  <a:pt x="504850" y="256006"/>
                </a:lnTo>
                <a:lnTo>
                  <a:pt x="504850" y="295478"/>
                </a:lnTo>
                <a:lnTo>
                  <a:pt x="514527" y="295478"/>
                </a:lnTo>
                <a:lnTo>
                  <a:pt x="514527" y="273100"/>
                </a:lnTo>
                <a:lnTo>
                  <a:pt x="528612" y="295478"/>
                </a:lnTo>
                <a:lnTo>
                  <a:pt x="538276" y="295478"/>
                </a:lnTo>
                <a:lnTo>
                  <a:pt x="538276" y="256006"/>
                </a:lnTo>
                <a:close/>
              </a:path>
              <a:path w="737870" h="296545">
                <a:moveTo>
                  <a:pt x="570534" y="84251"/>
                </a:moveTo>
                <a:lnTo>
                  <a:pt x="554037" y="84251"/>
                </a:lnTo>
                <a:lnTo>
                  <a:pt x="554037" y="49250"/>
                </a:lnTo>
                <a:lnTo>
                  <a:pt x="522960" y="49250"/>
                </a:lnTo>
                <a:lnTo>
                  <a:pt x="522960" y="84251"/>
                </a:lnTo>
                <a:lnTo>
                  <a:pt x="508876" y="84251"/>
                </a:lnTo>
                <a:lnTo>
                  <a:pt x="508876" y="108267"/>
                </a:lnTo>
                <a:lnTo>
                  <a:pt x="522960" y="108267"/>
                </a:lnTo>
                <a:lnTo>
                  <a:pt x="522960" y="168097"/>
                </a:lnTo>
                <a:lnTo>
                  <a:pt x="525233" y="182968"/>
                </a:lnTo>
                <a:lnTo>
                  <a:pt x="531749" y="191897"/>
                </a:lnTo>
                <a:lnTo>
                  <a:pt x="542036" y="196253"/>
                </a:lnTo>
                <a:lnTo>
                  <a:pt x="555637" y="197396"/>
                </a:lnTo>
                <a:lnTo>
                  <a:pt x="560476" y="197396"/>
                </a:lnTo>
                <a:lnTo>
                  <a:pt x="565696" y="196583"/>
                </a:lnTo>
                <a:lnTo>
                  <a:pt x="570534" y="196176"/>
                </a:lnTo>
                <a:lnTo>
                  <a:pt x="570534" y="172161"/>
                </a:lnTo>
                <a:lnTo>
                  <a:pt x="570534" y="171348"/>
                </a:lnTo>
                <a:lnTo>
                  <a:pt x="568540" y="171754"/>
                </a:lnTo>
                <a:lnTo>
                  <a:pt x="566928" y="172161"/>
                </a:lnTo>
                <a:lnTo>
                  <a:pt x="556018" y="172161"/>
                </a:lnTo>
                <a:lnTo>
                  <a:pt x="554037" y="169722"/>
                </a:lnTo>
                <a:lnTo>
                  <a:pt x="554037" y="108267"/>
                </a:lnTo>
                <a:lnTo>
                  <a:pt x="570534" y="108267"/>
                </a:lnTo>
                <a:lnTo>
                  <a:pt x="570534" y="84251"/>
                </a:lnTo>
                <a:close/>
              </a:path>
              <a:path w="737870" h="296545">
                <a:moveTo>
                  <a:pt x="597141" y="295478"/>
                </a:moveTo>
                <a:lnTo>
                  <a:pt x="595274" y="289788"/>
                </a:lnTo>
                <a:lnTo>
                  <a:pt x="592747" y="282054"/>
                </a:lnTo>
                <a:lnTo>
                  <a:pt x="587959" y="267398"/>
                </a:lnTo>
                <a:lnTo>
                  <a:pt x="584238" y="256006"/>
                </a:lnTo>
                <a:lnTo>
                  <a:pt x="582625" y="256006"/>
                </a:lnTo>
                <a:lnTo>
                  <a:pt x="582625" y="282054"/>
                </a:lnTo>
                <a:lnTo>
                  <a:pt x="573379" y="282054"/>
                </a:lnTo>
                <a:lnTo>
                  <a:pt x="578218" y="267398"/>
                </a:lnTo>
                <a:lnTo>
                  <a:pt x="582625" y="282054"/>
                </a:lnTo>
                <a:lnTo>
                  <a:pt x="582625" y="256006"/>
                </a:lnTo>
                <a:lnTo>
                  <a:pt x="572147" y="256006"/>
                </a:lnTo>
                <a:lnTo>
                  <a:pt x="559244" y="295478"/>
                </a:lnTo>
                <a:lnTo>
                  <a:pt x="569353" y="295478"/>
                </a:lnTo>
                <a:lnTo>
                  <a:pt x="571334" y="289788"/>
                </a:lnTo>
                <a:lnTo>
                  <a:pt x="585050" y="289788"/>
                </a:lnTo>
                <a:lnTo>
                  <a:pt x="586663" y="295478"/>
                </a:lnTo>
                <a:lnTo>
                  <a:pt x="597141" y="295478"/>
                </a:lnTo>
                <a:close/>
              </a:path>
              <a:path w="737870" h="296545">
                <a:moveTo>
                  <a:pt x="640295" y="287743"/>
                </a:moveTo>
                <a:lnTo>
                  <a:pt x="627773" y="287743"/>
                </a:lnTo>
                <a:lnTo>
                  <a:pt x="627773" y="256006"/>
                </a:lnTo>
                <a:lnTo>
                  <a:pt x="618096" y="256006"/>
                </a:lnTo>
                <a:lnTo>
                  <a:pt x="618096" y="295478"/>
                </a:lnTo>
                <a:lnTo>
                  <a:pt x="640295" y="295478"/>
                </a:lnTo>
                <a:lnTo>
                  <a:pt x="640295" y="287743"/>
                </a:lnTo>
                <a:close/>
              </a:path>
              <a:path w="737870" h="296545">
                <a:moveTo>
                  <a:pt x="695121" y="84251"/>
                </a:moveTo>
                <a:lnTo>
                  <a:pt x="660882" y="84251"/>
                </a:lnTo>
                <a:lnTo>
                  <a:pt x="637501" y="158330"/>
                </a:lnTo>
                <a:lnTo>
                  <a:pt x="637070" y="158330"/>
                </a:lnTo>
                <a:lnTo>
                  <a:pt x="613689" y="84251"/>
                </a:lnTo>
                <a:lnTo>
                  <a:pt x="579399" y="84251"/>
                </a:lnTo>
                <a:lnTo>
                  <a:pt x="620953" y="196176"/>
                </a:lnTo>
                <a:lnTo>
                  <a:pt x="608850" y="227926"/>
                </a:lnTo>
                <a:lnTo>
                  <a:pt x="641540" y="227926"/>
                </a:lnTo>
                <a:lnTo>
                  <a:pt x="667499" y="158330"/>
                </a:lnTo>
                <a:lnTo>
                  <a:pt x="695121" y="84251"/>
                </a:lnTo>
                <a:close/>
              </a:path>
              <a:path w="737870" h="296545">
                <a:moveTo>
                  <a:pt x="712063" y="0"/>
                </a:moveTo>
                <a:lnTo>
                  <a:pt x="695934" y="0"/>
                </a:lnTo>
                <a:lnTo>
                  <a:pt x="695934" y="4076"/>
                </a:lnTo>
                <a:lnTo>
                  <a:pt x="701573" y="4076"/>
                </a:lnTo>
                <a:lnTo>
                  <a:pt x="701573" y="22390"/>
                </a:lnTo>
                <a:lnTo>
                  <a:pt x="706043" y="22390"/>
                </a:lnTo>
                <a:lnTo>
                  <a:pt x="706043" y="4076"/>
                </a:lnTo>
                <a:lnTo>
                  <a:pt x="712063" y="4076"/>
                </a:lnTo>
                <a:lnTo>
                  <a:pt x="712063" y="0"/>
                </a:lnTo>
                <a:close/>
              </a:path>
              <a:path w="737870" h="296545">
                <a:moveTo>
                  <a:pt x="737857" y="0"/>
                </a:moveTo>
                <a:lnTo>
                  <a:pt x="733018" y="0"/>
                </a:lnTo>
                <a:lnTo>
                  <a:pt x="726567" y="15468"/>
                </a:lnTo>
                <a:lnTo>
                  <a:pt x="723341" y="7734"/>
                </a:lnTo>
                <a:lnTo>
                  <a:pt x="720115" y="0"/>
                </a:lnTo>
                <a:lnTo>
                  <a:pt x="715289" y="0"/>
                </a:lnTo>
                <a:lnTo>
                  <a:pt x="715289" y="22390"/>
                </a:lnTo>
                <a:lnTo>
                  <a:pt x="719315" y="22390"/>
                </a:lnTo>
                <a:lnTo>
                  <a:pt x="719315" y="7734"/>
                </a:lnTo>
                <a:lnTo>
                  <a:pt x="719747" y="7734"/>
                </a:lnTo>
                <a:lnTo>
                  <a:pt x="725385" y="22390"/>
                </a:lnTo>
                <a:lnTo>
                  <a:pt x="727811" y="22390"/>
                </a:lnTo>
                <a:lnTo>
                  <a:pt x="730656" y="15468"/>
                </a:lnTo>
                <a:lnTo>
                  <a:pt x="733831" y="7734"/>
                </a:lnTo>
                <a:lnTo>
                  <a:pt x="733831" y="22390"/>
                </a:lnTo>
                <a:lnTo>
                  <a:pt x="737857" y="22390"/>
                </a:lnTo>
                <a:lnTo>
                  <a:pt x="737857" y="7734"/>
                </a:lnTo>
                <a:lnTo>
                  <a:pt x="737857" y="0"/>
                </a:lnTo>
                <a:close/>
              </a:path>
            </a:pathLst>
          </a:custGeom>
          <a:solidFill>
            <a:srgbClr val="006092"/>
          </a:solidFill>
        </p:spPr>
        <p:txBody>
          <a:bodyPr wrap="square" lIns="0" tIns="0" rIns="0" bIns="0" rtlCol="0"/>
          <a:lstStyle/>
          <a:p/>
        </p:txBody>
      </p:sp>
      <p:sp>
        <p:nvSpPr>
          <p:cNvPr id="3" name="Holder 2"/>
          <p:cNvSpPr>
            <a:spLocks noGrp="1"/>
          </p:cNvSpPr>
          <p:nvPr>
            <p:ph type="title"/>
          </p:nvPr>
        </p:nvSpPr>
        <p:spPr>
          <a:xfrm>
            <a:off x="457606" y="232994"/>
            <a:ext cx="8228787" cy="3917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rgbClr val="094D80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  <p:sp>
        <p:nvSpPr>
          <p:cNvPr id="4" name="Holder 3"/>
          <p:cNvSpPr>
            <a:spLocks noGrp="1"/>
          </p:cNvSpPr>
          <p:nvPr>
            <p:ph type="body" idx="1"/>
          </p:nvPr>
        </p:nvSpPr>
        <p:spPr>
          <a:xfrm>
            <a:off x="670560" y="2077085"/>
            <a:ext cx="7802879" cy="13061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rgbClr val="415363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431291" y="4792355"/>
            <a:ext cx="3325495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00" b="0" i="0">
                <a:solidFill>
                  <a:srgbClr val="094D80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38100">
              <a:lnSpc>
                <a:spcPct val="100000"/>
              </a:lnSpc>
              <a:spcBef>
                <a:spcPts val="150"/>
              </a:spcBef>
              <a:tabLst>
                <a:tab pos="287020" algn="l"/>
              </a:tabLst>
            </a:pPr>
            <a:fld id="{81D60167-4931-47E6-BA6A-407CBD079E47}" type="slidenum">
              <a:rPr lang="en-AU" b="1" spc="-5" smtClean="0"/>
            </a:fld>
            <a:r>
              <a:rPr lang="en-AU" b="1" spc="-5" dirty="0"/>
              <a:t>	</a:t>
            </a:r>
            <a:r>
              <a:rPr lang="en-AU" sz="1350" baseline="9000" dirty="0">
                <a:solidFill>
                  <a:srgbClr val="415363"/>
                </a:solidFill>
              </a:rPr>
              <a:t>|</a:t>
            </a:r>
            <a:r>
              <a:rPr lang="en-AU" sz="1350" spc="187" baseline="9000" dirty="0">
                <a:solidFill>
                  <a:srgbClr val="415363"/>
                </a:solidFill>
              </a:rPr>
              <a:t> </a:t>
            </a:r>
            <a:r>
              <a:rPr lang="en-AU" spc="-5" dirty="0"/>
              <a:t>Virtual Experience Program</a:t>
            </a:r>
            <a:endParaRPr sz="900" dirty="0">
              <a:latin typeface="Arial" panose="020B0604020202020204"/>
              <a:cs typeface="Arial" panose="020B0604020202020204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2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2.bin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.v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3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3.bin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Picture 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object 5"/>
          <p:cNvGrpSpPr/>
          <p:nvPr/>
        </p:nvGrpSpPr>
        <p:grpSpPr>
          <a:xfrm>
            <a:off x="7531693" y="4669126"/>
            <a:ext cx="348615" cy="352425"/>
            <a:chOff x="7531693" y="4669126"/>
            <a:chExt cx="348615" cy="352425"/>
          </a:xfrm>
        </p:grpSpPr>
        <p:sp>
          <p:nvSpPr>
            <p:cNvPr id="6" name="object 6"/>
            <p:cNvSpPr/>
            <p:nvPr/>
          </p:nvSpPr>
          <p:spPr>
            <a:xfrm>
              <a:off x="7531693" y="4669126"/>
              <a:ext cx="348615" cy="352425"/>
            </a:xfrm>
            <a:custGeom>
              <a:avLst/>
              <a:gdLst/>
              <a:ahLst/>
              <a:cxnLst/>
              <a:rect l="l" t="t" r="r" b="b"/>
              <a:pathLst>
                <a:path w="348615" h="352425">
                  <a:moveTo>
                    <a:pt x="348370" y="0"/>
                  </a:moveTo>
                  <a:lnTo>
                    <a:pt x="0" y="0"/>
                  </a:lnTo>
                  <a:lnTo>
                    <a:pt x="0" y="352046"/>
                  </a:lnTo>
                  <a:lnTo>
                    <a:pt x="348370" y="352046"/>
                  </a:lnTo>
                  <a:lnTo>
                    <a:pt x="348370" y="0"/>
                  </a:lnTo>
                  <a:close/>
                </a:path>
              </a:pathLst>
            </a:custGeom>
            <a:solidFill>
              <a:srgbClr val="B72E2A"/>
            </a:solidFill>
          </p:spPr>
          <p:txBody>
            <a:bodyPr wrap="square" lIns="0" tIns="0" rIns="0" bIns="0" rtlCol="0"/>
            <a:lstStyle/>
            <a:p/>
          </p:txBody>
        </p:sp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643787" y="4749304"/>
              <a:ext cx="125798" cy="204306"/>
            </a:xfrm>
            <a:prstGeom prst="rect">
              <a:avLst/>
            </a:prstGeom>
          </p:spPr>
        </p:pic>
      </p:grpSp>
      <p:sp>
        <p:nvSpPr>
          <p:cNvPr id="8" name="object 8"/>
          <p:cNvSpPr/>
          <p:nvPr/>
        </p:nvSpPr>
        <p:spPr>
          <a:xfrm>
            <a:off x="7941742" y="4724882"/>
            <a:ext cx="737870" cy="296545"/>
          </a:xfrm>
          <a:custGeom>
            <a:avLst/>
            <a:gdLst/>
            <a:ahLst/>
            <a:cxnLst/>
            <a:rect l="l" t="t" r="r" b="b"/>
            <a:pathLst>
              <a:path w="737870" h="296545">
                <a:moveTo>
                  <a:pt x="25806" y="256413"/>
                </a:moveTo>
                <a:lnTo>
                  <a:pt x="16535" y="256413"/>
                </a:lnTo>
                <a:lnTo>
                  <a:pt x="16535" y="295478"/>
                </a:lnTo>
                <a:lnTo>
                  <a:pt x="25806" y="295478"/>
                </a:lnTo>
                <a:lnTo>
                  <a:pt x="25806" y="256413"/>
                </a:lnTo>
                <a:close/>
              </a:path>
              <a:path w="737870" h="296545">
                <a:moveTo>
                  <a:pt x="83870" y="256006"/>
                </a:moveTo>
                <a:lnTo>
                  <a:pt x="74599" y="256006"/>
                </a:lnTo>
                <a:lnTo>
                  <a:pt x="74599" y="278384"/>
                </a:lnTo>
                <a:lnTo>
                  <a:pt x="60083" y="256006"/>
                </a:lnTo>
                <a:lnTo>
                  <a:pt x="50812" y="256006"/>
                </a:lnTo>
                <a:lnTo>
                  <a:pt x="50812" y="295478"/>
                </a:lnTo>
                <a:lnTo>
                  <a:pt x="60083" y="295478"/>
                </a:lnTo>
                <a:lnTo>
                  <a:pt x="60083" y="273100"/>
                </a:lnTo>
                <a:lnTo>
                  <a:pt x="74599" y="295478"/>
                </a:lnTo>
                <a:lnTo>
                  <a:pt x="83870" y="295478"/>
                </a:lnTo>
                <a:lnTo>
                  <a:pt x="83870" y="256006"/>
                </a:lnTo>
                <a:close/>
              </a:path>
              <a:path w="737870" h="296545">
                <a:moveTo>
                  <a:pt x="105244" y="24422"/>
                </a:moveTo>
                <a:lnTo>
                  <a:pt x="16535" y="24422"/>
                </a:lnTo>
                <a:lnTo>
                  <a:pt x="16535" y="85471"/>
                </a:lnTo>
                <a:lnTo>
                  <a:pt x="0" y="85471"/>
                </a:lnTo>
                <a:lnTo>
                  <a:pt x="0" y="105016"/>
                </a:lnTo>
                <a:lnTo>
                  <a:pt x="16535" y="105016"/>
                </a:lnTo>
                <a:lnTo>
                  <a:pt x="16535" y="116408"/>
                </a:lnTo>
                <a:lnTo>
                  <a:pt x="0" y="116408"/>
                </a:lnTo>
                <a:lnTo>
                  <a:pt x="0" y="135534"/>
                </a:lnTo>
                <a:lnTo>
                  <a:pt x="16535" y="135534"/>
                </a:lnTo>
                <a:lnTo>
                  <a:pt x="16535" y="196583"/>
                </a:lnTo>
                <a:lnTo>
                  <a:pt x="50812" y="196583"/>
                </a:lnTo>
                <a:lnTo>
                  <a:pt x="50812" y="135534"/>
                </a:lnTo>
                <a:lnTo>
                  <a:pt x="83070" y="135534"/>
                </a:lnTo>
                <a:lnTo>
                  <a:pt x="91541" y="116408"/>
                </a:lnTo>
                <a:lnTo>
                  <a:pt x="50812" y="116408"/>
                </a:lnTo>
                <a:lnTo>
                  <a:pt x="50812" y="105016"/>
                </a:lnTo>
                <a:lnTo>
                  <a:pt x="96774" y="105016"/>
                </a:lnTo>
                <a:lnTo>
                  <a:pt x="105244" y="85471"/>
                </a:lnTo>
                <a:lnTo>
                  <a:pt x="50812" y="85471"/>
                </a:lnTo>
                <a:lnTo>
                  <a:pt x="50812" y="52501"/>
                </a:lnTo>
                <a:lnTo>
                  <a:pt x="105244" y="52501"/>
                </a:lnTo>
                <a:lnTo>
                  <a:pt x="105244" y="24422"/>
                </a:lnTo>
                <a:close/>
              </a:path>
              <a:path w="737870" h="296545">
                <a:moveTo>
                  <a:pt x="132676" y="256006"/>
                </a:moveTo>
                <a:lnTo>
                  <a:pt x="105244" y="256006"/>
                </a:lnTo>
                <a:lnTo>
                  <a:pt x="105244" y="263740"/>
                </a:lnTo>
                <a:lnTo>
                  <a:pt x="114134" y="263740"/>
                </a:lnTo>
                <a:lnTo>
                  <a:pt x="114134" y="295478"/>
                </a:lnTo>
                <a:lnTo>
                  <a:pt x="123812" y="295478"/>
                </a:lnTo>
                <a:lnTo>
                  <a:pt x="123812" y="263740"/>
                </a:lnTo>
                <a:lnTo>
                  <a:pt x="132676" y="263740"/>
                </a:lnTo>
                <a:lnTo>
                  <a:pt x="132676" y="256006"/>
                </a:lnTo>
                <a:close/>
              </a:path>
              <a:path w="737870" h="296545">
                <a:moveTo>
                  <a:pt x="154444" y="85064"/>
                </a:moveTo>
                <a:lnTo>
                  <a:pt x="120154" y="85064"/>
                </a:lnTo>
                <a:lnTo>
                  <a:pt x="120154" y="196176"/>
                </a:lnTo>
                <a:lnTo>
                  <a:pt x="154444" y="196176"/>
                </a:lnTo>
                <a:lnTo>
                  <a:pt x="154444" y="85064"/>
                </a:lnTo>
                <a:close/>
              </a:path>
              <a:path w="737870" h="296545">
                <a:moveTo>
                  <a:pt x="155257" y="37858"/>
                </a:moveTo>
                <a:lnTo>
                  <a:pt x="153720" y="30937"/>
                </a:lnTo>
                <a:lnTo>
                  <a:pt x="149656" y="25234"/>
                </a:lnTo>
                <a:lnTo>
                  <a:pt x="143852" y="21374"/>
                </a:lnTo>
                <a:lnTo>
                  <a:pt x="137083" y="19951"/>
                </a:lnTo>
                <a:lnTo>
                  <a:pt x="130009" y="21551"/>
                </a:lnTo>
                <a:lnTo>
                  <a:pt x="124256" y="25742"/>
                </a:lnTo>
                <a:lnTo>
                  <a:pt x="120383" y="31623"/>
                </a:lnTo>
                <a:lnTo>
                  <a:pt x="118973" y="38265"/>
                </a:lnTo>
                <a:lnTo>
                  <a:pt x="120383" y="44907"/>
                </a:lnTo>
                <a:lnTo>
                  <a:pt x="124256" y="50774"/>
                </a:lnTo>
                <a:lnTo>
                  <a:pt x="130009" y="54978"/>
                </a:lnTo>
                <a:lnTo>
                  <a:pt x="137083" y="56578"/>
                </a:lnTo>
                <a:lnTo>
                  <a:pt x="144183" y="55029"/>
                </a:lnTo>
                <a:lnTo>
                  <a:pt x="149961" y="50876"/>
                </a:lnTo>
                <a:lnTo>
                  <a:pt x="153835" y="44907"/>
                </a:lnTo>
                <a:lnTo>
                  <a:pt x="155257" y="37858"/>
                </a:lnTo>
                <a:close/>
              </a:path>
              <a:path w="737870" h="296545">
                <a:moveTo>
                  <a:pt x="175412" y="256006"/>
                </a:moveTo>
                <a:lnTo>
                  <a:pt x="152831" y="256006"/>
                </a:lnTo>
                <a:lnTo>
                  <a:pt x="152831" y="295478"/>
                </a:lnTo>
                <a:lnTo>
                  <a:pt x="175412" y="295478"/>
                </a:lnTo>
                <a:lnTo>
                  <a:pt x="175412" y="287743"/>
                </a:lnTo>
                <a:lnTo>
                  <a:pt x="162509" y="287743"/>
                </a:lnTo>
                <a:lnTo>
                  <a:pt x="162509" y="279615"/>
                </a:lnTo>
                <a:lnTo>
                  <a:pt x="175412" y="279615"/>
                </a:lnTo>
                <a:lnTo>
                  <a:pt x="175412" y="271881"/>
                </a:lnTo>
                <a:lnTo>
                  <a:pt x="162509" y="271881"/>
                </a:lnTo>
                <a:lnTo>
                  <a:pt x="162509" y="263740"/>
                </a:lnTo>
                <a:lnTo>
                  <a:pt x="175412" y="263740"/>
                </a:lnTo>
                <a:lnTo>
                  <a:pt x="175412" y="256006"/>
                </a:lnTo>
                <a:close/>
              </a:path>
              <a:path w="737870" h="296545">
                <a:moveTo>
                  <a:pt x="228244" y="295478"/>
                </a:moveTo>
                <a:lnTo>
                  <a:pt x="219760" y="281241"/>
                </a:lnTo>
                <a:lnTo>
                  <a:pt x="221856" y="280428"/>
                </a:lnTo>
                <a:lnTo>
                  <a:pt x="225018" y="279196"/>
                </a:lnTo>
                <a:lnTo>
                  <a:pt x="227444" y="275132"/>
                </a:lnTo>
                <a:lnTo>
                  <a:pt x="227444" y="264960"/>
                </a:lnTo>
                <a:lnTo>
                  <a:pt x="227088" y="264147"/>
                </a:lnTo>
                <a:lnTo>
                  <a:pt x="225831" y="261289"/>
                </a:lnTo>
                <a:lnTo>
                  <a:pt x="222986" y="259257"/>
                </a:lnTo>
                <a:lnTo>
                  <a:pt x="220560" y="257225"/>
                </a:lnTo>
                <a:lnTo>
                  <a:pt x="217766" y="256286"/>
                </a:lnTo>
                <a:lnTo>
                  <a:pt x="217766" y="266179"/>
                </a:lnTo>
                <a:lnTo>
                  <a:pt x="217766" y="273100"/>
                </a:lnTo>
                <a:lnTo>
                  <a:pt x="215353" y="275132"/>
                </a:lnTo>
                <a:lnTo>
                  <a:pt x="208470" y="275132"/>
                </a:lnTo>
                <a:lnTo>
                  <a:pt x="208470" y="264147"/>
                </a:lnTo>
                <a:lnTo>
                  <a:pt x="215722" y="264147"/>
                </a:lnTo>
                <a:lnTo>
                  <a:pt x="217766" y="266179"/>
                </a:lnTo>
                <a:lnTo>
                  <a:pt x="217766" y="256286"/>
                </a:lnTo>
                <a:lnTo>
                  <a:pt x="216954" y="256006"/>
                </a:lnTo>
                <a:lnTo>
                  <a:pt x="199174" y="256006"/>
                </a:lnTo>
                <a:lnTo>
                  <a:pt x="199174" y="295478"/>
                </a:lnTo>
                <a:lnTo>
                  <a:pt x="208470" y="295478"/>
                </a:lnTo>
                <a:lnTo>
                  <a:pt x="208470" y="280428"/>
                </a:lnTo>
                <a:lnTo>
                  <a:pt x="216954" y="295478"/>
                </a:lnTo>
                <a:lnTo>
                  <a:pt x="228244" y="295478"/>
                </a:lnTo>
                <a:close/>
              </a:path>
              <a:path w="737870" h="296545">
                <a:moveTo>
                  <a:pt x="284251" y="24015"/>
                </a:moveTo>
                <a:lnTo>
                  <a:pt x="254368" y="24015"/>
                </a:lnTo>
                <a:lnTo>
                  <a:pt x="254368" y="140004"/>
                </a:lnTo>
                <a:lnTo>
                  <a:pt x="254368" y="140817"/>
                </a:lnTo>
                <a:lnTo>
                  <a:pt x="252577" y="153530"/>
                </a:lnTo>
                <a:lnTo>
                  <a:pt x="247180" y="164122"/>
                </a:lnTo>
                <a:lnTo>
                  <a:pt x="238455" y="171208"/>
                </a:lnTo>
                <a:lnTo>
                  <a:pt x="226631" y="173786"/>
                </a:lnTo>
                <a:lnTo>
                  <a:pt x="214617" y="171107"/>
                </a:lnTo>
                <a:lnTo>
                  <a:pt x="205905" y="163868"/>
                </a:lnTo>
                <a:lnTo>
                  <a:pt x="200583" y="153365"/>
                </a:lnTo>
                <a:lnTo>
                  <a:pt x="198793" y="140817"/>
                </a:lnTo>
                <a:lnTo>
                  <a:pt x="200520" y="128460"/>
                </a:lnTo>
                <a:lnTo>
                  <a:pt x="205638" y="117932"/>
                </a:lnTo>
                <a:lnTo>
                  <a:pt x="214096" y="110604"/>
                </a:lnTo>
                <a:lnTo>
                  <a:pt x="225831" y="107861"/>
                </a:lnTo>
                <a:lnTo>
                  <a:pt x="238467" y="110604"/>
                </a:lnTo>
                <a:lnTo>
                  <a:pt x="247294" y="117805"/>
                </a:lnTo>
                <a:lnTo>
                  <a:pt x="247408" y="117932"/>
                </a:lnTo>
                <a:lnTo>
                  <a:pt x="252679" y="128295"/>
                </a:lnTo>
                <a:lnTo>
                  <a:pt x="254368" y="140004"/>
                </a:lnTo>
                <a:lnTo>
                  <a:pt x="254368" y="24015"/>
                </a:lnTo>
                <a:lnTo>
                  <a:pt x="253238" y="24015"/>
                </a:lnTo>
                <a:lnTo>
                  <a:pt x="253238" y="99314"/>
                </a:lnTo>
                <a:lnTo>
                  <a:pt x="252806" y="99314"/>
                </a:lnTo>
                <a:lnTo>
                  <a:pt x="244894" y="90843"/>
                </a:lnTo>
                <a:lnTo>
                  <a:pt x="236639" y="85318"/>
                </a:lnTo>
                <a:lnTo>
                  <a:pt x="227711" y="82308"/>
                </a:lnTo>
                <a:lnTo>
                  <a:pt x="217766" y="81407"/>
                </a:lnTo>
                <a:lnTo>
                  <a:pt x="196253" y="86207"/>
                </a:lnTo>
                <a:lnTo>
                  <a:pt x="179984" y="99110"/>
                </a:lnTo>
                <a:lnTo>
                  <a:pt x="169697" y="117805"/>
                </a:lnTo>
                <a:lnTo>
                  <a:pt x="166116" y="140004"/>
                </a:lnTo>
                <a:lnTo>
                  <a:pt x="169875" y="162280"/>
                </a:lnTo>
                <a:lnTo>
                  <a:pt x="180479" y="181114"/>
                </a:lnTo>
                <a:lnTo>
                  <a:pt x="196900" y="194157"/>
                </a:lnTo>
                <a:lnTo>
                  <a:pt x="218147" y="199021"/>
                </a:lnTo>
                <a:lnTo>
                  <a:pt x="228473" y="197993"/>
                </a:lnTo>
                <a:lnTo>
                  <a:pt x="238074" y="194703"/>
                </a:lnTo>
                <a:lnTo>
                  <a:pt x="246684" y="188899"/>
                </a:lnTo>
                <a:lnTo>
                  <a:pt x="254050" y="180301"/>
                </a:lnTo>
                <a:lnTo>
                  <a:pt x="254419" y="180301"/>
                </a:lnTo>
                <a:lnTo>
                  <a:pt x="254419" y="196176"/>
                </a:lnTo>
                <a:lnTo>
                  <a:pt x="284251" y="196176"/>
                </a:lnTo>
                <a:lnTo>
                  <a:pt x="284251" y="180301"/>
                </a:lnTo>
                <a:lnTo>
                  <a:pt x="284251" y="173786"/>
                </a:lnTo>
                <a:lnTo>
                  <a:pt x="284251" y="107861"/>
                </a:lnTo>
                <a:lnTo>
                  <a:pt x="284251" y="99314"/>
                </a:lnTo>
                <a:lnTo>
                  <a:pt x="284251" y="24015"/>
                </a:lnTo>
                <a:close/>
              </a:path>
              <a:path w="737870" h="296545">
                <a:moveTo>
                  <a:pt x="284683" y="256006"/>
                </a:moveTo>
                <a:lnTo>
                  <a:pt x="275386" y="256006"/>
                </a:lnTo>
                <a:lnTo>
                  <a:pt x="275386" y="278384"/>
                </a:lnTo>
                <a:lnTo>
                  <a:pt x="261302" y="256006"/>
                </a:lnTo>
                <a:lnTo>
                  <a:pt x="251625" y="256006"/>
                </a:lnTo>
                <a:lnTo>
                  <a:pt x="251625" y="295478"/>
                </a:lnTo>
                <a:lnTo>
                  <a:pt x="261302" y="295478"/>
                </a:lnTo>
                <a:lnTo>
                  <a:pt x="261302" y="273100"/>
                </a:lnTo>
                <a:lnTo>
                  <a:pt x="275386" y="295478"/>
                </a:lnTo>
                <a:lnTo>
                  <a:pt x="284683" y="295478"/>
                </a:lnTo>
                <a:lnTo>
                  <a:pt x="284683" y="256006"/>
                </a:lnTo>
                <a:close/>
              </a:path>
              <a:path w="737870" h="296545">
                <a:moveTo>
                  <a:pt x="343547" y="295478"/>
                </a:moveTo>
                <a:lnTo>
                  <a:pt x="341680" y="289788"/>
                </a:lnTo>
                <a:lnTo>
                  <a:pt x="339153" y="282054"/>
                </a:lnTo>
                <a:lnTo>
                  <a:pt x="334365" y="267398"/>
                </a:lnTo>
                <a:lnTo>
                  <a:pt x="330644" y="256006"/>
                </a:lnTo>
                <a:lnTo>
                  <a:pt x="329031" y="256006"/>
                </a:lnTo>
                <a:lnTo>
                  <a:pt x="329031" y="282054"/>
                </a:lnTo>
                <a:lnTo>
                  <a:pt x="319735" y="282054"/>
                </a:lnTo>
                <a:lnTo>
                  <a:pt x="324573" y="267398"/>
                </a:lnTo>
                <a:lnTo>
                  <a:pt x="329031" y="282054"/>
                </a:lnTo>
                <a:lnTo>
                  <a:pt x="329031" y="256006"/>
                </a:lnTo>
                <a:lnTo>
                  <a:pt x="318554" y="256006"/>
                </a:lnTo>
                <a:lnTo>
                  <a:pt x="305650" y="295478"/>
                </a:lnTo>
                <a:lnTo>
                  <a:pt x="315696" y="295478"/>
                </a:lnTo>
                <a:lnTo>
                  <a:pt x="317309" y="289788"/>
                </a:lnTo>
                <a:lnTo>
                  <a:pt x="331444" y="289788"/>
                </a:lnTo>
                <a:lnTo>
                  <a:pt x="333057" y="295478"/>
                </a:lnTo>
                <a:lnTo>
                  <a:pt x="343547" y="295478"/>
                </a:lnTo>
                <a:close/>
              </a:path>
              <a:path w="737870" h="296545">
                <a:moveTo>
                  <a:pt x="386702" y="256006"/>
                </a:moveTo>
                <a:lnTo>
                  <a:pt x="359295" y="256006"/>
                </a:lnTo>
                <a:lnTo>
                  <a:pt x="359295" y="263740"/>
                </a:lnTo>
                <a:lnTo>
                  <a:pt x="368160" y="263740"/>
                </a:lnTo>
                <a:lnTo>
                  <a:pt x="368160" y="295478"/>
                </a:lnTo>
                <a:lnTo>
                  <a:pt x="377837" y="295478"/>
                </a:lnTo>
                <a:lnTo>
                  <a:pt x="377837" y="263740"/>
                </a:lnTo>
                <a:lnTo>
                  <a:pt x="386702" y="263740"/>
                </a:lnTo>
                <a:lnTo>
                  <a:pt x="386702" y="256006"/>
                </a:lnTo>
                <a:close/>
              </a:path>
              <a:path w="737870" h="296545">
                <a:moveTo>
                  <a:pt x="408470" y="140411"/>
                </a:moveTo>
                <a:lnTo>
                  <a:pt x="406527" y="129019"/>
                </a:lnTo>
                <a:lnTo>
                  <a:pt x="404291" y="115912"/>
                </a:lnTo>
                <a:lnTo>
                  <a:pt x="397433" y="105016"/>
                </a:lnTo>
                <a:lnTo>
                  <a:pt x="392595" y="97320"/>
                </a:lnTo>
                <a:lnTo>
                  <a:pt x="377405" y="87363"/>
                </a:lnTo>
                <a:lnTo>
                  <a:pt x="377405" y="129019"/>
                </a:lnTo>
                <a:lnTo>
                  <a:pt x="327418" y="129019"/>
                </a:lnTo>
                <a:lnTo>
                  <a:pt x="329857" y="119951"/>
                </a:lnTo>
                <a:lnTo>
                  <a:pt x="334873" y="112280"/>
                </a:lnTo>
                <a:lnTo>
                  <a:pt x="342607" y="106984"/>
                </a:lnTo>
                <a:lnTo>
                  <a:pt x="353212" y="105016"/>
                </a:lnTo>
                <a:lnTo>
                  <a:pt x="363131" y="107213"/>
                </a:lnTo>
                <a:lnTo>
                  <a:pt x="370471" y="112890"/>
                </a:lnTo>
                <a:lnTo>
                  <a:pt x="375234" y="120637"/>
                </a:lnTo>
                <a:lnTo>
                  <a:pt x="377405" y="129019"/>
                </a:lnTo>
                <a:lnTo>
                  <a:pt x="377405" y="87363"/>
                </a:lnTo>
                <a:lnTo>
                  <a:pt x="374624" y="85534"/>
                </a:lnTo>
                <a:lnTo>
                  <a:pt x="351612" y="81407"/>
                </a:lnTo>
                <a:lnTo>
                  <a:pt x="328587" y="85534"/>
                </a:lnTo>
                <a:lnTo>
                  <a:pt x="310616" y="97320"/>
                </a:lnTo>
                <a:lnTo>
                  <a:pt x="298919" y="115912"/>
                </a:lnTo>
                <a:lnTo>
                  <a:pt x="294741" y="140411"/>
                </a:lnTo>
                <a:lnTo>
                  <a:pt x="298919" y="164680"/>
                </a:lnTo>
                <a:lnTo>
                  <a:pt x="310616" y="183146"/>
                </a:lnTo>
                <a:lnTo>
                  <a:pt x="328587" y="194906"/>
                </a:lnTo>
                <a:lnTo>
                  <a:pt x="351612" y="199021"/>
                </a:lnTo>
                <a:lnTo>
                  <a:pt x="370039" y="196824"/>
                </a:lnTo>
                <a:lnTo>
                  <a:pt x="385584" y="190271"/>
                </a:lnTo>
                <a:lnTo>
                  <a:pt x="397649" y="179451"/>
                </a:lnTo>
                <a:lnTo>
                  <a:pt x="399796" y="175425"/>
                </a:lnTo>
                <a:lnTo>
                  <a:pt x="405625" y="164439"/>
                </a:lnTo>
                <a:lnTo>
                  <a:pt x="375412" y="161988"/>
                </a:lnTo>
                <a:lnTo>
                  <a:pt x="371373" y="167690"/>
                </a:lnTo>
                <a:lnTo>
                  <a:pt x="366128" y="171907"/>
                </a:lnTo>
                <a:lnTo>
                  <a:pt x="359981" y="174523"/>
                </a:lnTo>
                <a:lnTo>
                  <a:pt x="353212" y="175425"/>
                </a:lnTo>
                <a:lnTo>
                  <a:pt x="342214" y="173113"/>
                </a:lnTo>
                <a:lnTo>
                  <a:pt x="334416" y="167081"/>
                </a:lnTo>
                <a:lnTo>
                  <a:pt x="329565" y="158597"/>
                </a:lnTo>
                <a:lnTo>
                  <a:pt x="327418" y="148971"/>
                </a:lnTo>
                <a:lnTo>
                  <a:pt x="408470" y="148971"/>
                </a:lnTo>
                <a:lnTo>
                  <a:pt x="408470" y="140411"/>
                </a:lnTo>
                <a:close/>
              </a:path>
              <a:path w="737870" h="296545">
                <a:moveTo>
                  <a:pt x="421373" y="256413"/>
                </a:moveTo>
                <a:lnTo>
                  <a:pt x="411695" y="256413"/>
                </a:lnTo>
                <a:lnTo>
                  <a:pt x="411695" y="295478"/>
                </a:lnTo>
                <a:lnTo>
                  <a:pt x="421373" y="295478"/>
                </a:lnTo>
                <a:lnTo>
                  <a:pt x="421373" y="256413"/>
                </a:lnTo>
                <a:close/>
              </a:path>
              <a:path w="737870" h="296545">
                <a:moveTo>
                  <a:pt x="450773" y="24015"/>
                </a:moveTo>
                <a:lnTo>
                  <a:pt x="419328" y="24015"/>
                </a:lnTo>
                <a:lnTo>
                  <a:pt x="419328" y="196176"/>
                </a:lnTo>
                <a:lnTo>
                  <a:pt x="450773" y="196176"/>
                </a:lnTo>
                <a:lnTo>
                  <a:pt x="450773" y="24015"/>
                </a:lnTo>
                <a:close/>
              </a:path>
              <a:path w="737870" h="296545">
                <a:moveTo>
                  <a:pt x="484263" y="275945"/>
                </a:moveTo>
                <a:lnTo>
                  <a:pt x="482752" y="267792"/>
                </a:lnTo>
                <a:lnTo>
                  <a:pt x="480377" y="264147"/>
                </a:lnTo>
                <a:lnTo>
                  <a:pt x="478561" y="261340"/>
                </a:lnTo>
                <a:lnTo>
                  <a:pt x="474586" y="258711"/>
                </a:lnTo>
                <a:lnTo>
                  <a:pt x="474586" y="269430"/>
                </a:lnTo>
                <a:lnTo>
                  <a:pt x="474586" y="282460"/>
                </a:lnTo>
                <a:lnTo>
                  <a:pt x="469747" y="287337"/>
                </a:lnTo>
                <a:lnTo>
                  <a:pt x="457657" y="287337"/>
                </a:lnTo>
                <a:lnTo>
                  <a:pt x="452818" y="282460"/>
                </a:lnTo>
                <a:lnTo>
                  <a:pt x="452818" y="269024"/>
                </a:lnTo>
                <a:lnTo>
                  <a:pt x="457225" y="264147"/>
                </a:lnTo>
                <a:lnTo>
                  <a:pt x="470128" y="264147"/>
                </a:lnTo>
                <a:lnTo>
                  <a:pt x="474586" y="269430"/>
                </a:lnTo>
                <a:lnTo>
                  <a:pt x="474586" y="258711"/>
                </a:lnTo>
                <a:lnTo>
                  <a:pt x="472173" y="257111"/>
                </a:lnTo>
                <a:lnTo>
                  <a:pt x="464108" y="255600"/>
                </a:lnTo>
                <a:lnTo>
                  <a:pt x="458457" y="255600"/>
                </a:lnTo>
                <a:lnTo>
                  <a:pt x="453199" y="257225"/>
                </a:lnTo>
                <a:lnTo>
                  <a:pt x="449592" y="260883"/>
                </a:lnTo>
                <a:lnTo>
                  <a:pt x="445135" y="264960"/>
                </a:lnTo>
                <a:lnTo>
                  <a:pt x="443141" y="270243"/>
                </a:lnTo>
                <a:lnTo>
                  <a:pt x="443141" y="275945"/>
                </a:lnTo>
                <a:lnTo>
                  <a:pt x="444766" y="283933"/>
                </a:lnTo>
                <a:lnTo>
                  <a:pt x="449173" y="290398"/>
                </a:lnTo>
                <a:lnTo>
                  <a:pt x="455701" y="294716"/>
                </a:lnTo>
                <a:lnTo>
                  <a:pt x="463677" y="296291"/>
                </a:lnTo>
                <a:lnTo>
                  <a:pt x="471652" y="294716"/>
                </a:lnTo>
                <a:lnTo>
                  <a:pt x="478205" y="290398"/>
                </a:lnTo>
                <a:lnTo>
                  <a:pt x="480301" y="287337"/>
                </a:lnTo>
                <a:lnTo>
                  <a:pt x="482638" y="283933"/>
                </a:lnTo>
                <a:lnTo>
                  <a:pt x="484263" y="275945"/>
                </a:lnTo>
                <a:close/>
              </a:path>
              <a:path w="737870" h="296545">
                <a:moveTo>
                  <a:pt x="496785" y="84251"/>
                </a:moveTo>
                <a:lnTo>
                  <a:pt x="465721" y="84251"/>
                </a:lnTo>
                <a:lnTo>
                  <a:pt x="465721" y="196176"/>
                </a:lnTo>
                <a:lnTo>
                  <a:pt x="496785" y="196176"/>
                </a:lnTo>
                <a:lnTo>
                  <a:pt x="496785" y="84251"/>
                </a:lnTo>
                <a:close/>
              </a:path>
              <a:path w="737870" h="296545">
                <a:moveTo>
                  <a:pt x="499579" y="37858"/>
                </a:moveTo>
                <a:lnTo>
                  <a:pt x="498055" y="30937"/>
                </a:lnTo>
                <a:lnTo>
                  <a:pt x="493979" y="25234"/>
                </a:lnTo>
                <a:lnTo>
                  <a:pt x="488175" y="21374"/>
                </a:lnTo>
                <a:lnTo>
                  <a:pt x="481418" y="19951"/>
                </a:lnTo>
                <a:lnTo>
                  <a:pt x="474167" y="21551"/>
                </a:lnTo>
                <a:lnTo>
                  <a:pt x="468426" y="25742"/>
                </a:lnTo>
                <a:lnTo>
                  <a:pt x="464654" y="31623"/>
                </a:lnTo>
                <a:lnTo>
                  <a:pt x="463296" y="38265"/>
                </a:lnTo>
                <a:lnTo>
                  <a:pt x="464654" y="44907"/>
                </a:lnTo>
                <a:lnTo>
                  <a:pt x="468426" y="50774"/>
                </a:lnTo>
                <a:lnTo>
                  <a:pt x="474167" y="54978"/>
                </a:lnTo>
                <a:lnTo>
                  <a:pt x="481418" y="56578"/>
                </a:lnTo>
                <a:lnTo>
                  <a:pt x="488340" y="55029"/>
                </a:lnTo>
                <a:lnTo>
                  <a:pt x="494131" y="50876"/>
                </a:lnTo>
                <a:lnTo>
                  <a:pt x="498106" y="44907"/>
                </a:lnTo>
                <a:lnTo>
                  <a:pt x="499579" y="37858"/>
                </a:lnTo>
                <a:close/>
              </a:path>
              <a:path w="737870" h="296545">
                <a:moveTo>
                  <a:pt x="538276" y="256006"/>
                </a:moveTo>
                <a:lnTo>
                  <a:pt x="528612" y="256006"/>
                </a:lnTo>
                <a:lnTo>
                  <a:pt x="528612" y="278384"/>
                </a:lnTo>
                <a:lnTo>
                  <a:pt x="514527" y="256006"/>
                </a:lnTo>
                <a:lnTo>
                  <a:pt x="504850" y="256006"/>
                </a:lnTo>
                <a:lnTo>
                  <a:pt x="504850" y="295478"/>
                </a:lnTo>
                <a:lnTo>
                  <a:pt x="514527" y="295478"/>
                </a:lnTo>
                <a:lnTo>
                  <a:pt x="514527" y="273100"/>
                </a:lnTo>
                <a:lnTo>
                  <a:pt x="528612" y="295478"/>
                </a:lnTo>
                <a:lnTo>
                  <a:pt x="538276" y="295478"/>
                </a:lnTo>
                <a:lnTo>
                  <a:pt x="538276" y="256006"/>
                </a:lnTo>
                <a:close/>
              </a:path>
              <a:path w="737870" h="296545">
                <a:moveTo>
                  <a:pt x="570534" y="84251"/>
                </a:moveTo>
                <a:lnTo>
                  <a:pt x="554037" y="84251"/>
                </a:lnTo>
                <a:lnTo>
                  <a:pt x="554037" y="49250"/>
                </a:lnTo>
                <a:lnTo>
                  <a:pt x="522960" y="49250"/>
                </a:lnTo>
                <a:lnTo>
                  <a:pt x="522960" y="84251"/>
                </a:lnTo>
                <a:lnTo>
                  <a:pt x="508876" y="84251"/>
                </a:lnTo>
                <a:lnTo>
                  <a:pt x="508876" y="108267"/>
                </a:lnTo>
                <a:lnTo>
                  <a:pt x="522960" y="108267"/>
                </a:lnTo>
                <a:lnTo>
                  <a:pt x="522960" y="168097"/>
                </a:lnTo>
                <a:lnTo>
                  <a:pt x="525233" y="182968"/>
                </a:lnTo>
                <a:lnTo>
                  <a:pt x="531749" y="191897"/>
                </a:lnTo>
                <a:lnTo>
                  <a:pt x="542036" y="196253"/>
                </a:lnTo>
                <a:lnTo>
                  <a:pt x="555637" y="197396"/>
                </a:lnTo>
                <a:lnTo>
                  <a:pt x="560476" y="197396"/>
                </a:lnTo>
                <a:lnTo>
                  <a:pt x="565696" y="196583"/>
                </a:lnTo>
                <a:lnTo>
                  <a:pt x="570534" y="196176"/>
                </a:lnTo>
                <a:lnTo>
                  <a:pt x="570534" y="172161"/>
                </a:lnTo>
                <a:lnTo>
                  <a:pt x="570534" y="171348"/>
                </a:lnTo>
                <a:lnTo>
                  <a:pt x="568540" y="171754"/>
                </a:lnTo>
                <a:lnTo>
                  <a:pt x="566928" y="172161"/>
                </a:lnTo>
                <a:lnTo>
                  <a:pt x="556018" y="172161"/>
                </a:lnTo>
                <a:lnTo>
                  <a:pt x="554037" y="169722"/>
                </a:lnTo>
                <a:lnTo>
                  <a:pt x="554037" y="108267"/>
                </a:lnTo>
                <a:lnTo>
                  <a:pt x="570534" y="108267"/>
                </a:lnTo>
                <a:lnTo>
                  <a:pt x="570534" y="84251"/>
                </a:lnTo>
                <a:close/>
              </a:path>
              <a:path w="737870" h="296545">
                <a:moveTo>
                  <a:pt x="597141" y="295478"/>
                </a:moveTo>
                <a:lnTo>
                  <a:pt x="595274" y="289788"/>
                </a:lnTo>
                <a:lnTo>
                  <a:pt x="592747" y="282054"/>
                </a:lnTo>
                <a:lnTo>
                  <a:pt x="587959" y="267398"/>
                </a:lnTo>
                <a:lnTo>
                  <a:pt x="584238" y="256006"/>
                </a:lnTo>
                <a:lnTo>
                  <a:pt x="582625" y="256006"/>
                </a:lnTo>
                <a:lnTo>
                  <a:pt x="582625" y="282054"/>
                </a:lnTo>
                <a:lnTo>
                  <a:pt x="573379" y="282054"/>
                </a:lnTo>
                <a:lnTo>
                  <a:pt x="578218" y="267398"/>
                </a:lnTo>
                <a:lnTo>
                  <a:pt x="582625" y="282054"/>
                </a:lnTo>
                <a:lnTo>
                  <a:pt x="582625" y="256006"/>
                </a:lnTo>
                <a:lnTo>
                  <a:pt x="572147" y="256006"/>
                </a:lnTo>
                <a:lnTo>
                  <a:pt x="559244" y="295478"/>
                </a:lnTo>
                <a:lnTo>
                  <a:pt x="569353" y="295478"/>
                </a:lnTo>
                <a:lnTo>
                  <a:pt x="571334" y="289788"/>
                </a:lnTo>
                <a:lnTo>
                  <a:pt x="585050" y="289788"/>
                </a:lnTo>
                <a:lnTo>
                  <a:pt x="586663" y="295478"/>
                </a:lnTo>
                <a:lnTo>
                  <a:pt x="597141" y="295478"/>
                </a:lnTo>
                <a:close/>
              </a:path>
              <a:path w="737870" h="296545">
                <a:moveTo>
                  <a:pt x="640295" y="287743"/>
                </a:moveTo>
                <a:lnTo>
                  <a:pt x="627773" y="287743"/>
                </a:lnTo>
                <a:lnTo>
                  <a:pt x="627773" y="256006"/>
                </a:lnTo>
                <a:lnTo>
                  <a:pt x="618096" y="256006"/>
                </a:lnTo>
                <a:lnTo>
                  <a:pt x="618096" y="295478"/>
                </a:lnTo>
                <a:lnTo>
                  <a:pt x="640295" y="295478"/>
                </a:lnTo>
                <a:lnTo>
                  <a:pt x="640295" y="287743"/>
                </a:lnTo>
                <a:close/>
              </a:path>
              <a:path w="737870" h="296545">
                <a:moveTo>
                  <a:pt x="695121" y="84251"/>
                </a:moveTo>
                <a:lnTo>
                  <a:pt x="660882" y="84251"/>
                </a:lnTo>
                <a:lnTo>
                  <a:pt x="637501" y="158330"/>
                </a:lnTo>
                <a:lnTo>
                  <a:pt x="637070" y="158330"/>
                </a:lnTo>
                <a:lnTo>
                  <a:pt x="613689" y="84251"/>
                </a:lnTo>
                <a:lnTo>
                  <a:pt x="579399" y="84251"/>
                </a:lnTo>
                <a:lnTo>
                  <a:pt x="620953" y="196176"/>
                </a:lnTo>
                <a:lnTo>
                  <a:pt x="608850" y="227926"/>
                </a:lnTo>
                <a:lnTo>
                  <a:pt x="641540" y="227926"/>
                </a:lnTo>
                <a:lnTo>
                  <a:pt x="667499" y="158330"/>
                </a:lnTo>
                <a:lnTo>
                  <a:pt x="695121" y="84251"/>
                </a:lnTo>
                <a:close/>
              </a:path>
              <a:path w="737870" h="296545">
                <a:moveTo>
                  <a:pt x="712063" y="0"/>
                </a:moveTo>
                <a:lnTo>
                  <a:pt x="695934" y="0"/>
                </a:lnTo>
                <a:lnTo>
                  <a:pt x="695934" y="4076"/>
                </a:lnTo>
                <a:lnTo>
                  <a:pt x="701573" y="4076"/>
                </a:lnTo>
                <a:lnTo>
                  <a:pt x="701573" y="22390"/>
                </a:lnTo>
                <a:lnTo>
                  <a:pt x="706043" y="22390"/>
                </a:lnTo>
                <a:lnTo>
                  <a:pt x="706043" y="4076"/>
                </a:lnTo>
                <a:lnTo>
                  <a:pt x="712063" y="4076"/>
                </a:lnTo>
                <a:lnTo>
                  <a:pt x="712063" y="0"/>
                </a:lnTo>
                <a:close/>
              </a:path>
              <a:path w="737870" h="296545">
                <a:moveTo>
                  <a:pt x="737857" y="0"/>
                </a:moveTo>
                <a:lnTo>
                  <a:pt x="733018" y="0"/>
                </a:lnTo>
                <a:lnTo>
                  <a:pt x="726567" y="15468"/>
                </a:lnTo>
                <a:lnTo>
                  <a:pt x="723341" y="7734"/>
                </a:lnTo>
                <a:lnTo>
                  <a:pt x="720115" y="0"/>
                </a:lnTo>
                <a:lnTo>
                  <a:pt x="715289" y="0"/>
                </a:lnTo>
                <a:lnTo>
                  <a:pt x="715289" y="22390"/>
                </a:lnTo>
                <a:lnTo>
                  <a:pt x="719315" y="22390"/>
                </a:lnTo>
                <a:lnTo>
                  <a:pt x="719315" y="7734"/>
                </a:lnTo>
                <a:lnTo>
                  <a:pt x="719747" y="7734"/>
                </a:lnTo>
                <a:lnTo>
                  <a:pt x="725385" y="22390"/>
                </a:lnTo>
                <a:lnTo>
                  <a:pt x="727811" y="22390"/>
                </a:lnTo>
                <a:lnTo>
                  <a:pt x="730656" y="15468"/>
                </a:lnTo>
                <a:lnTo>
                  <a:pt x="733831" y="7734"/>
                </a:lnTo>
                <a:lnTo>
                  <a:pt x="733831" y="22390"/>
                </a:lnTo>
                <a:lnTo>
                  <a:pt x="737857" y="22390"/>
                </a:lnTo>
                <a:lnTo>
                  <a:pt x="737857" y="7734"/>
                </a:lnTo>
                <a:lnTo>
                  <a:pt x="737857" y="0"/>
                </a:lnTo>
                <a:close/>
              </a:path>
            </a:pathLst>
          </a:custGeom>
          <a:solidFill>
            <a:srgbClr val="006092"/>
          </a:solidFill>
        </p:spPr>
        <p:txBody>
          <a:bodyPr wrap="square" lIns="0" tIns="0" rIns="0" bIns="0" rtlCol="0"/>
          <a:lstStyle/>
          <a:p/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1" name="object 4"/>
          <p:cNvSpPr/>
          <p:nvPr/>
        </p:nvSpPr>
        <p:spPr>
          <a:xfrm>
            <a:off x="0" y="-9063"/>
            <a:ext cx="9144000" cy="2334895"/>
          </a:xfrm>
          <a:custGeom>
            <a:avLst/>
            <a:gdLst/>
            <a:ahLst/>
            <a:cxnLst/>
            <a:rect l="l" t="t" r="r" b="b"/>
            <a:pathLst>
              <a:path w="9144000" h="2334895">
                <a:moveTo>
                  <a:pt x="9144000" y="0"/>
                </a:moveTo>
                <a:lnTo>
                  <a:pt x="0" y="0"/>
                </a:lnTo>
                <a:lnTo>
                  <a:pt x="0" y="2334768"/>
                </a:lnTo>
                <a:lnTo>
                  <a:pt x="9144000" y="2334768"/>
                </a:lnTo>
                <a:lnTo>
                  <a:pt x="9144000" y="0"/>
                </a:lnTo>
                <a:close/>
              </a:path>
            </a:pathLst>
          </a:custGeom>
          <a:solidFill>
            <a:srgbClr val="094D80"/>
          </a:solidFill>
        </p:spPr>
        <p:txBody>
          <a:bodyPr wrap="square" lIns="0" tIns="0" rIns="0" bIns="0" rtlCol="0"/>
          <a:lstStyle/>
          <a:p/>
        </p:txBody>
      </p:sp>
      <p:sp>
        <p:nvSpPr>
          <p:cNvPr id="12" name="object 9"/>
          <p:cNvSpPr txBox="1"/>
          <p:nvPr/>
        </p:nvSpPr>
        <p:spPr>
          <a:xfrm>
            <a:off x="533400" y="1276350"/>
            <a:ext cx="5835704" cy="9662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>
              <a:defRPr sz="2400" b="1" i="0">
                <a:solidFill>
                  <a:srgbClr val="094D80"/>
                </a:solidFill>
                <a:latin typeface="Arial" panose="020B0604020202020204"/>
                <a:ea typeface="+mj-ea"/>
                <a:cs typeface="Arial" panose="020B0604020202020204"/>
              </a:defRPr>
            </a:lvl1pPr>
          </a:lstStyle>
          <a:p>
            <a:pPr marL="12700">
              <a:spcBef>
                <a:spcPts val="95"/>
              </a:spcBef>
            </a:pPr>
            <a:r>
              <a:rPr lang="en-AU" sz="2200" kern="0" spc="-5" dirty="0">
                <a:solidFill>
                  <a:srgbClr val="FFFFFF"/>
                </a:solidFill>
              </a:rPr>
              <a:t>Fidelity</a:t>
            </a:r>
            <a:br>
              <a:rPr lang="en-AU" sz="2200" kern="0" spc="-5" dirty="0">
                <a:solidFill>
                  <a:srgbClr val="FFFFFF"/>
                </a:solidFill>
              </a:rPr>
            </a:br>
            <a:r>
              <a:rPr lang="en-AU" sz="1400" kern="0" spc="-5" dirty="0">
                <a:solidFill>
                  <a:srgbClr val="FFFFFF"/>
                </a:solidFill>
              </a:rPr>
              <a:t>Virtual Experience Program</a:t>
            </a:r>
            <a:br>
              <a:rPr lang="en-AU" sz="1400" kern="0" spc="-5" dirty="0">
                <a:solidFill>
                  <a:srgbClr val="FFFFFF"/>
                </a:solidFill>
              </a:rPr>
            </a:br>
            <a:br>
              <a:rPr lang="en-AU" sz="1400" kern="0" spc="-5" dirty="0">
                <a:solidFill>
                  <a:srgbClr val="FFFFFF"/>
                </a:solidFill>
              </a:rPr>
            </a:br>
            <a:r>
              <a:rPr lang="en-GB" sz="1200" b="0" kern="0" spc="-5" dirty="0">
                <a:solidFill>
                  <a:srgbClr val="FFFFFF"/>
                </a:solidFill>
              </a:rPr>
              <a:t>Task 4 – PowerPoint Template</a:t>
            </a:r>
            <a:endParaRPr lang="en-GB" sz="1200" b="0" kern="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Picture 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2"/>
          <p:cNvSpPr txBox="1">
            <a:spLocks noGrp="1"/>
          </p:cNvSpPr>
          <p:nvPr>
            <p:ph type="title"/>
          </p:nvPr>
        </p:nvSpPr>
        <p:spPr>
          <a:xfrm>
            <a:off x="456387" y="232994"/>
            <a:ext cx="655193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dirty="0"/>
              <a:t>Research Task Findings</a:t>
            </a:r>
            <a:endParaRPr spc="-10" dirty="0"/>
          </a:p>
        </p:txBody>
      </p:sp>
      <p:graphicFrame>
        <p:nvGraphicFramePr>
          <p:cNvPr id="9" name="Table 7"/>
          <p:cNvGraphicFramePr>
            <a:graphicFrameLocks noGrp="1"/>
          </p:cNvGraphicFramePr>
          <p:nvPr/>
        </p:nvGraphicFramePr>
        <p:xfrm>
          <a:off x="448436" y="1123509"/>
          <a:ext cx="4572813" cy="33377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7613"/>
                <a:gridCol w="1219200"/>
                <a:gridCol w="2286000"/>
              </a:tblGrid>
              <a:tr h="256939">
                <a:tc>
                  <a:txBody>
                    <a:bodyPr/>
                    <a:lstStyle/>
                    <a:p>
                      <a:pPr algn="ctr"/>
                      <a:r>
                        <a:rPr lang="en-AU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 No.</a:t>
                      </a:r>
                      <a:endParaRPr lang="en-AU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94D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 Letter</a:t>
                      </a:r>
                      <a:endParaRPr lang="en-AU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94D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ndemic Impact</a:t>
                      </a:r>
                      <a:endParaRPr lang="en-AU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solidFill>
                      <a:srgbClr val="094D80"/>
                    </a:solidFill>
                  </a:tcPr>
                </a:tc>
              </a:tr>
              <a:tr h="513461">
                <a:tc>
                  <a:txBody>
                    <a:bodyPr/>
                    <a:lstStyle/>
                    <a:p>
                      <a:pPr algn="ctr"/>
                      <a:r>
                        <a:rPr lang="en-AU" sz="900" b="1" dirty="0">
                          <a:solidFill>
                            <a:srgbClr val="094D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AU" sz="900" b="1" dirty="0">
                        <a:solidFill>
                          <a:srgbClr val="094D8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A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en-AU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A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itive</a:t>
                      </a:r>
                      <a:r>
                        <a:rPr lang="en-US" altLang="en-A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altLang="en-AU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ctr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altLang="en-A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increased demand for technology during the pandemic and lockdowns)</a:t>
                      </a:r>
                      <a:endParaRPr lang="en-US" altLang="en-AU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3461">
                <a:tc>
                  <a:txBody>
                    <a:bodyPr/>
                    <a:lstStyle/>
                    <a:p>
                      <a:pPr algn="ctr"/>
                      <a:r>
                        <a:rPr lang="en-AU" sz="900" b="1" dirty="0">
                          <a:solidFill>
                            <a:srgbClr val="094D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AU" sz="900" b="1" dirty="0">
                        <a:solidFill>
                          <a:srgbClr val="094D8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AU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</a:t>
                      </a:r>
                      <a:endParaRPr kumimoji="0" lang="en-AU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AU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ative </a:t>
                      </a:r>
                      <a:endParaRPr kumimoji="0" lang="en-AU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AU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decreased demand due to lockdowns)</a:t>
                      </a:r>
                      <a:endParaRPr kumimoji="0" lang="en-AU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3080">
                <a:tc>
                  <a:txBody>
                    <a:bodyPr/>
                    <a:lstStyle/>
                    <a:p>
                      <a:pPr algn="ctr"/>
                      <a:r>
                        <a:rPr lang="en-AU" sz="900" b="1" dirty="0">
                          <a:solidFill>
                            <a:srgbClr val="094D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n-AU" sz="900" b="1" dirty="0">
                        <a:solidFill>
                          <a:srgbClr val="094D8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AU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</a:t>
                      </a:r>
                      <a:endParaRPr kumimoji="0" lang="en-AU" sz="9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AU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sitive </a:t>
                      </a:r>
                      <a:endParaRPr kumimoji="0" lang="en-AU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AU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enhanced prospects due to pharmaceutical solutions for the pandemic)</a:t>
                      </a:r>
                      <a:endParaRPr kumimoji="0" lang="en-AU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3461">
                <a:tc>
                  <a:txBody>
                    <a:bodyPr/>
                    <a:lstStyle/>
                    <a:p>
                      <a:pPr algn="ctr"/>
                      <a:r>
                        <a:rPr lang="en-AU" sz="900" b="1" dirty="0">
                          <a:solidFill>
                            <a:srgbClr val="094D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n-AU" sz="900" b="1" dirty="0">
                        <a:solidFill>
                          <a:srgbClr val="094D8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AU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</a:t>
                      </a:r>
                      <a:endParaRPr kumimoji="0" lang="en-AU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AU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sitive </a:t>
                      </a:r>
                      <a:endParaRPr kumimoji="0" lang="en-AU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AU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higher demand for games due to lockdowns and increased time spent at home)</a:t>
                      </a:r>
                      <a:endParaRPr kumimoji="0" lang="en-AU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3461">
                <a:tc>
                  <a:txBody>
                    <a:bodyPr/>
                    <a:lstStyle/>
                    <a:p>
                      <a:pPr algn="ctr"/>
                      <a:r>
                        <a:rPr lang="en-AU" sz="900" b="1" dirty="0">
                          <a:solidFill>
                            <a:srgbClr val="094D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AU" sz="900" b="1" dirty="0">
                        <a:solidFill>
                          <a:srgbClr val="094D8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US" altLang="en-AU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</a:t>
                      </a:r>
                      <a:endParaRPr kumimoji="0" lang="en-US" altLang="en-AU" sz="9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AU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ative</a:t>
                      </a:r>
                      <a:r>
                        <a:rPr kumimoji="0" lang="en-US" altLang="en-AU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kumimoji="0" lang="en-US" altLang="en-AU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US" altLang="en-AU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decline in demand for vehicles)</a:t>
                      </a:r>
                      <a:endParaRPr kumimoji="0" lang="en-US" altLang="en-AU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3461">
                <a:tc>
                  <a:txBody>
                    <a:bodyPr/>
                    <a:lstStyle/>
                    <a:p>
                      <a:pPr algn="ctr"/>
                      <a:r>
                        <a:rPr lang="en-AU" sz="900" b="1" dirty="0">
                          <a:solidFill>
                            <a:srgbClr val="094D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AU" sz="900" b="1" dirty="0">
                        <a:solidFill>
                          <a:srgbClr val="094D8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US" altLang="en-AU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</a:t>
                      </a:r>
                      <a:endParaRPr kumimoji="0" lang="en-US" altLang="en-AU" sz="9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AU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utral </a:t>
                      </a:r>
                      <a:endParaRPr kumimoji="0" lang="en-AU" sz="9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AU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water is essential with relatively inelastic demand)</a:t>
                      </a:r>
                      <a:r>
                        <a:rPr kumimoji="0" lang="en-US" altLang="en-AU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kumimoji="0" lang="en-US" altLang="en-AU" sz="9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456387" y="1062990"/>
            <a:ext cx="4572813" cy="0"/>
          </a:xfrm>
          <a:prstGeom prst="line">
            <a:avLst/>
          </a:prstGeom>
          <a:ln>
            <a:solidFill>
              <a:srgbClr val="002D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bject 2"/>
          <p:cNvSpPr txBox="1"/>
          <p:nvPr/>
        </p:nvSpPr>
        <p:spPr>
          <a:xfrm>
            <a:off x="456387" y="808991"/>
            <a:ext cx="4572813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400" b="1" i="0">
                <a:solidFill>
                  <a:srgbClr val="094D80"/>
                </a:solidFill>
                <a:latin typeface="Arial" panose="020B0604020202020204"/>
                <a:ea typeface="+mj-ea"/>
                <a:cs typeface="Arial" panose="020B0604020202020204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en-AU" sz="1200" kern="0" dirty="0"/>
              <a:t>Part (</a:t>
            </a:r>
            <a:r>
              <a:rPr lang="en-AU" sz="1200" kern="0" dirty="0" err="1"/>
              <a:t>i</a:t>
            </a:r>
            <a:r>
              <a:rPr lang="en-AU" sz="1200" kern="0" dirty="0"/>
              <a:t>) &amp; Part (ii)</a:t>
            </a:r>
            <a:endParaRPr lang="en-AU" sz="1200" kern="0" spc="-10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5181600" y="1062990"/>
            <a:ext cx="3733800" cy="0"/>
          </a:xfrm>
          <a:prstGeom prst="line">
            <a:avLst/>
          </a:prstGeom>
          <a:ln>
            <a:solidFill>
              <a:srgbClr val="002D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bject 2"/>
          <p:cNvSpPr txBox="1"/>
          <p:nvPr/>
        </p:nvSpPr>
        <p:spPr>
          <a:xfrm>
            <a:off x="5181601" y="808991"/>
            <a:ext cx="373380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400" b="1" i="0">
                <a:solidFill>
                  <a:srgbClr val="094D80"/>
                </a:solidFill>
                <a:latin typeface="Arial" panose="020B0604020202020204"/>
                <a:ea typeface="+mj-ea"/>
                <a:cs typeface="Arial" panose="020B0604020202020204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en-AU" sz="1200" kern="0" dirty="0"/>
              <a:t>Part (iii)</a:t>
            </a:r>
            <a:endParaRPr lang="en-AU" sz="1200" kern="0" spc="-10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5181600" y="2909900"/>
            <a:ext cx="3733800" cy="0"/>
          </a:xfrm>
          <a:prstGeom prst="line">
            <a:avLst/>
          </a:prstGeom>
          <a:ln>
            <a:solidFill>
              <a:srgbClr val="002D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ject 2"/>
          <p:cNvSpPr txBox="1"/>
          <p:nvPr/>
        </p:nvSpPr>
        <p:spPr>
          <a:xfrm>
            <a:off x="5181601" y="2655901"/>
            <a:ext cx="373380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400" b="1" i="0">
                <a:solidFill>
                  <a:srgbClr val="094D80"/>
                </a:solidFill>
                <a:latin typeface="Arial" panose="020B0604020202020204"/>
                <a:ea typeface="+mj-ea"/>
                <a:cs typeface="Arial" panose="020B0604020202020204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en-AU" sz="1200" kern="0" dirty="0"/>
              <a:t>Part (iv)</a:t>
            </a:r>
            <a:endParaRPr lang="en-AU" sz="1200" kern="0" spc="-10" dirty="0"/>
          </a:p>
        </p:txBody>
      </p:sp>
      <p:sp>
        <p:nvSpPr>
          <p:cNvPr id="16" name="Rectangle: Rounded Corners 15"/>
          <p:cNvSpPr/>
          <p:nvPr/>
        </p:nvSpPr>
        <p:spPr>
          <a:xfrm>
            <a:off x="5181600" y="3028950"/>
            <a:ext cx="3733800" cy="151892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rgbClr val="002D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7" name="Picture 2" descr="You'll never look at Tesla's logo in the same way again | Creative Bloq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177" y="3355350"/>
            <a:ext cx="1027186" cy="764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6461229" y="3079924"/>
            <a:ext cx="2402507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000" b="1" dirty="0">
                <a:latin typeface="Arial" panose="020B0604020202020204" pitchFamily="34" charset="0"/>
                <a:cs typeface="Arial" panose="020B0604020202020204" pitchFamily="34" charset="0"/>
              </a:rPr>
              <a:t>Recommendation: </a:t>
            </a: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BUY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AU" sz="1000" b="1" dirty="0">
                <a:latin typeface="Arial" panose="020B0604020202020204" pitchFamily="34" charset="0"/>
                <a:cs typeface="Arial" panose="020B0604020202020204" pitchFamily="34" charset="0"/>
              </a:rPr>
              <a:t>Explanation: </a:t>
            </a: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Although the pandemic may affect demand and Tesla is smaller compared to its competitors, its bonds are relatively inexpensive, and the company has the most promising outlook. Additionally, it maintains a net cash position and generates strong free cash flow.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A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: Rounded Corners 18"/>
          <p:cNvSpPr/>
          <p:nvPr/>
        </p:nvSpPr>
        <p:spPr>
          <a:xfrm>
            <a:off x="5181600" y="1158621"/>
            <a:ext cx="3733800" cy="141735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rgbClr val="002D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20" name="Picture 2" descr="You'll never look at Tesla's logo in the same way again | Creative Bloq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200" y="1485021"/>
            <a:ext cx="1027186" cy="764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6526092" y="1209595"/>
            <a:ext cx="2272780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000" b="1" dirty="0">
                <a:latin typeface="Arial" panose="020B0604020202020204" pitchFamily="34" charset="0"/>
                <a:cs typeface="Arial" panose="020B0604020202020204" pitchFamily="34" charset="0"/>
              </a:rPr>
              <a:t>Are Tesla’s bonds cheap or expensive vs. peers? 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Tesla’s bonds are less expensive than those of its competitors, as indicated by its high bond yield of over 4%, which reflects its Non-Investment Grade / Speculative Grade rating.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UNDODONOTDELETE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415363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81</Words>
  <Application>WPS Spreadsheets</Application>
  <PresentationFormat>On-screen Show (16:9)</PresentationFormat>
  <Paragraphs>65</Paragraphs>
  <Slides>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2</vt:i4>
      </vt:variant>
    </vt:vector>
  </HeadingPairs>
  <TitlesOfParts>
    <vt:vector size="16" baseType="lpstr">
      <vt:lpstr>Arial</vt:lpstr>
      <vt:lpstr>SimSun</vt:lpstr>
      <vt:lpstr>Wingdings</vt:lpstr>
      <vt:lpstr>Arial</vt:lpstr>
      <vt:lpstr>Calibri</vt:lpstr>
      <vt:lpstr>Helvetica Neue</vt:lpstr>
      <vt:lpstr>Microsoft YaHei</vt:lpstr>
      <vt:lpstr>汉仪旗黑</vt:lpstr>
      <vt:lpstr>Arial Unicode MS</vt:lpstr>
      <vt:lpstr>宋体-简</vt:lpstr>
      <vt:lpstr>Office Theme</vt:lpstr>
      <vt:lpstr>TCLayout.ActiveDocument.1</vt:lpstr>
      <vt:lpstr>TCLayout.ActiveDocument.1</vt:lpstr>
      <vt:lpstr>TCLayout.ActiveDocument.1</vt:lpstr>
      <vt:lpstr>PowerPoint 演示文稿</vt:lpstr>
      <vt:lpstr>Research Task Finding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Fi kri</cp:lastModifiedBy>
  <cp:revision>2</cp:revision>
  <dcterms:created xsi:type="dcterms:W3CDTF">2025-01-17T10:37:41Z</dcterms:created>
  <dcterms:modified xsi:type="dcterms:W3CDTF">2025-01-17T10:37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5.7.1.8093</vt:lpwstr>
  </property>
</Properties>
</file>